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5.xml" ContentType="application/vnd.openxmlformats-officedocument.presentationml.tag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6.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7.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8.xml" ContentType="application/vnd.openxmlformats-officedocument.presentationml.tags+xml"/>
  <Override PartName="/ppt/tags/tag1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1"/>
  </p:notesMasterIdLst>
  <p:sldIdLst>
    <p:sldId id="256" r:id="rId2"/>
    <p:sldId id="7320" r:id="rId3"/>
    <p:sldId id="6206" r:id="rId4"/>
    <p:sldId id="7321" r:id="rId5"/>
    <p:sldId id="7326" r:id="rId6"/>
    <p:sldId id="7325" r:id="rId7"/>
    <p:sldId id="7328" r:id="rId8"/>
    <p:sldId id="7329" r:id="rId9"/>
    <p:sldId id="7327" r:id="rId10"/>
  </p:sldIdLst>
  <p:sldSz cx="12192000" cy="6858000"/>
  <p:notesSz cx="6858000" cy="9144000"/>
  <p:custDataLst>
    <p:tags r:id="rId12"/>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FE8BFC7-1DC3-46F2-A0AD-39D2740EEF63}" v="1277" dt="2024-02-29T12:49:27.47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949" autoAdjust="0"/>
    <p:restoredTop sz="92108" autoAdjust="0"/>
  </p:normalViewPr>
  <p:slideViewPr>
    <p:cSldViewPr snapToGrid="0">
      <p:cViewPr varScale="1">
        <p:scale>
          <a:sx n="113" d="100"/>
          <a:sy n="113" d="100"/>
        </p:scale>
        <p:origin x="972"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rus-Kogi, Oghenedoro F SPDC-IUC/G/T" userId="78f19ff7-fab7-43d5-a554-8985d8c96af4" providerId="ADAL" clId="{CFE8BFC7-1DC3-46F2-A0AD-39D2740EEF63}"/>
    <pc:docChg chg="undo custSel modSld replTag">
      <pc:chgData name="Garus-Kogi, Oghenedoro F SPDC-IUC/G/T" userId="78f19ff7-fab7-43d5-a554-8985d8c96af4" providerId="ADAL" clId="{CFE8BFC7-1DC3-46F2-A0AD-39D2740EEF63}" dt="2024-02-29T12:52:06.481" v="1003" actId="20577"/>
      <pc:docMkLst>
        <pc:docMk/>
      </pc:docMkLst>
      <pc:sldChg chg="modSp mod modNotesTx">
        <pc:chgData name="Garus-Kogi, Oghenedoro F SPDC-IUC/G/T" userId="78f19ff7-fab7-43d5-a554-8985d8c96af4" providerId="ADAL" clId="{CFE8BFC7-1DC3-46F2-A0AD-39D2740EEF63}" dt="2024-02-29T12:20:09.932" v="941" actId="20577"/>
        <pc:sldMkLst>
          <pc:docMk/>
          <pc:sldMk cId="445788236" sldId="6206"/>
        </pc:sldMkLst>
        <pc:spChg chg="mod">
          <ac:chgData name="Garus-Kogi, Oghenedoro F SPDC-IUC/G/T" userId="78f19ff7-fab7-43d5-a554-8985d8c96af4" providerId="ADAL" clId="{CFE8BFC7-1DC3-46F2-A0AD-39D2740EEF63}" dt="2024-02-29T12:19:08.158" v="940" actId="20577"/>
          <ac:spMkLst>
            <pc:docMk/>
            <pc:sldMk cId="445788236" sldId="6206"/>
            <ac:spMk id="17" creationId="{85A724D0-2EC9-4806-BD4D-8E7BA6A5C4FC}"/>
          </ac:spMkLst>
        </pc:spChg>
        <pc:spChg chg="mod">
          <ac:chgData name="Garus-Kogi, Oghenedoro F SPDC-IUC/G/T" userId="78f19ff7-fab7-43d5-a554-8985d8c96af4" providerId="ADAL" clId="{CFE8BFC7-1DC3-46F2-A0AD-39D2740EEF63}" dt="2024-02-29T12:13:52.546" v="763" actId="20577"/>
          <ac:spMkLst>
            <pc:docMk/>
            <pc:sldMk cId="445788236" sldId="6206"/>
            <ac:spMk id="19" creationId="{72B218D9-0FCC-4D4E-85BA-530A66E916BD}"/>
          </ac:spMkLst>
        </pc:spChg>
        <pc:spChg chg="mod">
          <ac:chgData name="Garus-Kogi, Oghenedoro F SPDC-IUC/G/T" userId="78f19ff7-fab7-43d5-a554-8985d8c96af4" providerId="ADAL" clId="{CFE8BFC7-1DC3-46F2-A0AD-39D2740EEF63}" dt="2024-02-29T12:20:09.932" v="941" actId="20577"/>
          <ac:spMkLst>
            <pc:docMk/>
            <pc:sldMk cId="445788236" sldId="6206"/>
            <ac:spMk id="48" creationId="{D32A37EF-6772-441F-B4BB-4074CE3EE38F}"/>
          </ac:spMkLst>
        </pc:spChg>
      </pc:sldChg>
      <pc:sldChg chg="addSp delSp modSp mod">
        <pc:chgData name="Garus-Kogi, Oghenedoro F SPDC-IUC/G/T" userId="78f19ff7-fab7-43d5-a554-8985d8c96af4" providerId="ADAL" clId="{CFE8BFC7-1DC3-46F2-A0AD-39D2740EEF63}" dt="2024-02-27T09:16:30.699" v="496"/>
        <pc:sldMkLst>
          <pc:docMk/>
          <pc:sldMk cId="1033593286" sldId="7321"/>
        </pc:sldMkLst>
        <pc:spChg chg="mod">
          <ac:chgData name="Garus-Kogi, Oghenedoro F SPDC-IUC/G/T" userId="78f19ff7-fab7-43d5-a554-8985d8c96af4" providerId="ADAL" clId="{CFE8BFC7-1DC3-46F2-A0AD-39D2740EEF63}" dt="2024-02-27T08:07:55.235" v="204" actId="948"/>
          <ac:spMkLst>
            <pc:docMk/>
            <pc:sldMk cId="1033593286" sldId="7321"/>
            <ac:spMk id="2" creationId="{AD86F2BD-3566-C719-67E8-7D7D02F56458}"/>
          </ac:spMkLst>
        </pc:spChg>
        <pc:spChg chg="add del mod modVis">
          <ac:chgData name="Garus-Kogi, Oghenedoro F SPDC-IUC/G/T" userId="78f19ff7-fab7-43d5-a554-8985d8c96af4" providerId="ADAL" clId="{CFE8BFC7-1DC3-46F2-A0AD-39D2740EEF63}" dt="2024-02-27T08:03:58.246" v="43"/>
          <ac:spMkLst>
            <pc:docMk/>
            <pc:sldMk cId="1033593286" sldId="7321"/>
            <ac:spMk id="4" creationId="{8D498562-C825-B515-CC69-7B67C7712D27}"/>
          </ac:spMkLst>
        </pc:spChg>
        <pc:spChg chg="add del mod modVis">
          <ac:chgData name="Garus-Kogi, Oghenedoro F SPDC-IUC/G/T" userId="78f19ff7-fab7-43d5-a554-8985d8c96af4" providerId="ADAL" clId="{CFE8BFC7-1DC3-46F2-A0AD-39D2740EEF63}" dt="2024-02-27T08:03:59.080" v="70"/>
          <ac:spMkLst>
            <pc:docMk/>
            <pc:sldMk cId="1033593286" sldId="7321"/>
            <ac:spMk id="6" creationId="{B059126E-EEFF-C887-C5B1-E3E8B2E37211}"/>
          </ac:spMkLst>
        </pc:spChg>
        <pc:spChg chg="add del mod modVis">
          <ac:chgData name="Garus-Kogi, Oghenedoro F SPDC-IUC/G/T" userId="78f19ff7-fab7-43d5-a554-8985d8c96af4" providerId="ADAL" clId="{CFE8BFC7-1DC3-46F2-A0AD-39D2740EEF63}" dt="2024-02-27T08:04:05.249" v="102"/>
          <ac:spMkLst>
            <pc:docMk/>
            <pc:sldMk cId="1033593286" sldId="7321"/>
            <ac:spMk id="8" creationId="{DD2E5B09-CCB4-839B-3BEE-2842884F319B}"/>
          </ac:spMkLst>
        </pc:spChg>
        <pc:spChg chg="add del mod modVis">
          <ac:chgData name="Garus-Kogi, Oghenedoro F SPDC-IUC/G/T" userId="78f19ff7-fab7-43d5-a554-8985d8c96af4" providerId="ADAL" clId="{CFE8BFC7-1DC3-46F2-A0AD-39D2740EEF63}" dt="2024-02-27T08:07:54.443" v="198"/>
          <ac:spMkLst>
            <pc:docMk/>
            <pc:sldMk cId="1033593286" sldId="7321"/>
            <ac:spMk id="9" creationId="{14D370EE-2296-E169-6315-8A06A9FEB8CB}"/>
          </ac:spMkLst>
        </pc:spChg>
        <pc:spChg chg="add del mod modVis">
          <ac:chgData name="Garus-Kogi, Oghenedoro F SPDC-IUC/G/T" userId="78f19ff7-fab7-43d5-a554-8985d8c96af4" providerId="ADAL" clId="{CFE8BFC7-1DC3-46F2-A0AD-39D2740EEF63}" dt="2024-02-27T08:07:55.258" v="227"/>
          <ac:spMkLst>
            <pc:docMk/>
            <pc:sldMk cId="1033593286" sldId="7321"/>
            <ac:spMk id="11" creationId="{85DC9682-872D-BE17-7F6F-4B5BD014BF5A}"/>
          </ac:spMkLst>
        </pc:spChg>
        <pc:graphicFrameChg chg="mod">
          <ac:chgData name="Garus-Kogi, Oghenedoro F SPDC-IUC/G/T" userId="78f19ff7-fab7-43d5-a554-8985d8c96af4" providerId="ADAL" clId="{CFE8BFC7-1DC3-46F2-A0AD-39D2740EEF63}" dt="2024-02-27T08:07:55.263" v="229"/>
          <ac:graphicFrameMkLst>
            <pc:docMk/>
            <pc:sldMk cId="1033593286" sldId="7321"/>
            <ac:graphicFrameMk id="5" creationId="{91D246B6-467B-497B-E90E-082622D5F0B6}"/>
          </ac:graphicFrameMkLst>
        </pc:graphicFrameChg>
        <pc:graphicFrameChg chg="mod modGraphic">
          <ac:chgData name="Garus-Kogi, Oghenedoro F SPDC-IUC/G/T" userId="78f19ff7-fab7-43d5-a554-8985d8c96af4" providerId="ADAL" clId="{CFE8BFC7-1DC3-46F2-A0AD-39D2740EEF63}" dt="2024-02-27T08:41:07.476" v="357" actId="122"/>
          <ac:graphicFrameMkLst>
            <pc:docMk/>
            <pc:sldMk cId="1033593286" sldId="7321"/>
            <ac:graphicFrameMk id="7" creationId="{2F58D333-8483-9FE0-370F-30C0657F4249}"/>
          </ac:graphicFrameMkLst>
        </pc:graphicFrameChg>
        <pc:graphicFrameChg chg="add mod">
          <ac:chgData name="Garus-Kogi, Oghenedoro F SPDC-IUC/G/T" userId="78f19ff7-fab7-43d5-a554-8985d8c96af4" providerId="ADAL" clId="{CFE8BFC7-1DC3-46F2-A0AD-39D2740EEF63}" dt="2024-02-27T09:16:30.699" v="496"/>
          <ac:graphicFrameMkLst>
            <pc:docMk/>
            <pc:sldMk cId="1033593286" sldId="7321"/>
            <ac:graphicFrameMk id="12" creationId="{3C04811E-3CCC-0298-D9D0-01DB67AA1BD3}"/>
          </ac:graphicFrameMkLst>
        </pc:graphicFrameChg>
      </pc:sldChg>
      <pc:sldChg chg="addSp delSp modSp mod">
        <pc:chgData name="Garus-Kogi, Oghenedoro F SPDC-IUC/G/T" userId="78f19ff7-fab7-43d5-a554-8985d8c96af4" providerId="ADAL" clId="{CFE8BFC7-1DC3-46F2-A0AD-39D2740EEF63}" dt="2024-02-27T09:17:07.730" v="519" actId="1038"/>
        <pc:sldMkLst>
          <pc:docMk/>
          <pc:sldMk cId="262899205" sldId="7325"/>
        </pc:sldMkLst>
        <pc:spChg chg="mod">
          <ac:chgData name="Garus-Kogi, Oghenedoro F SPDC-IUC/G/T" userId="78f19ff7-fab7-43d5-a554-8985d8c96af4" providerId="ADAL" clId="{CFE8BFC7-1DC3-46F2-A0AD-39D2740EEF63}" dt="2024-02-27T08:08:02.325" v="231" actId="948"/>
          <ac:spMkLst>
            <pc:docMk/>
            <pc:sldMk cId="262899205" sldId="7325"/>
            <ac:spMk id="2" creationId="{AD86F2BD-3566-C719-67E8-7D7D02F56458}"/>
          </ac:spMkLst>
        </pc:spChg>
        <pc:spChg chg="add del mod modVis">
          <ac:chgData name="Garus-Kogi, Oghenedoro F SPDC-IUC/G/T" userId="78f19ff7-fab7-43d5-a554-8985d8c96af4" providerId="ADAL" clId="{CFE8BFC7-1DC3-46F2-A0AD-39D2740EEF63}" dt="2024-02-27T08:08:02.342" v="254"/>
          <ac:spMkLst>
            <pc:docMk/>
            <pc:sldMk cId="262899205" sldId="7325"/>
            <ac:spMk id="6" creationId="{A9B6F50E-C463-8A55-712C-3FF964E1D079}"/>
          </ac:spMkLst>
        </pc:spChg>
        <pc:graphicFrameChg chg="mod modGraphic">
          <ac:chgData name="Garus-Kogi, Oghenedoro F SPDC-IUC/G/T" userId="78f19ff7-fab7-43d5-a554-8985d8c96af4" providerId="ADAL" clId="{CFE8BFC7-1DC3-46F2-A0AD-39D2740EEF63}" dt="2024-02-27T08:42:24.501" v="364" actId="207"/>
          <ac:graphicFrameMkLst>
            <pc:docMk/>
            <pc:sldMk cId="262899205" sldId="7325"/>
            <ac:graphicFrameMk id="4" creationId="{A40B2DAA-F28A-C24E-F507-A3F3491C2708}"/>
          </ac:graphicFrameMkLst>
        </pc:graphicFrameChg>
        <pc:graphicFrameChg chg="mod">
          <ac:chgData name="Garus-Kogi, Oghenedoro F SPDC-IUC/G/T" userId="78f19ff7-fab7-43d5-a554-8985d8c96af4" providerId="ADAL" clId="{CFE8BFC7-1DC3-46F2-A0AD-39D2740EEF63}" dt="2024-02-27T08:08:02.354" v="256"/>
          <ac:graphicFrameMkLst>
            <pc:docMk/>
            <pc:sldMk cId="262899205" sldId="7325"/>
            <ac:graphicFrameMk id="5" creationId="{91D246B6-467B-497B-E90E-082622D5F0B6}"/>
          </ac:graphicFrameMkLst>
        </pc:graphicFrameChg>
        <pc:graphicFrameChg chg="add mod modGraphic">
          <ac:chgData name="Garus-Kogi, Oghenedoro F SPDC-IUC/G/T" userId="78f19ff7-fab7-43d5-a554-8985d8c96af4" providerId="ADAL" clId="{CFE8BFC7-1DC3-46F2-A0AD-39D2740EEF63}" dt="2024-02-27T09:17:07.730" v="519" actId="1038"/>
          <ac:graphicFrameMkLst>
            <pc:docMk/>
            <pc:sldMk cId="262899205" sldId="7325"/>
            <ac:graphicFrameMk id="8" creationId="{63961B22-5DE9-2433-0230-17D50E2531CA}"/>
          </ac:graphicFrameMkLst>
        </pc:graphicFrameChg>
      </pc:sldChg>
      <pc:sldChg chg="addSp delSp modSp mod">
        <pc:chgData name="Garus-Kogi, Oghenedoro F SPDC-IUC/G/T" userId="78f19ff7-fab7-43d5-a554-8985d8c96af4" providerId="ADAL" clId="{CFE8BFC7-1DC3-46F2-A0AD-39D2740EEF63}" dt="2024-02-27T09:16:36.789" v="497"/>
        <pc:sldMkLst>
          <pc:docMk/>
          <pc:sldMk cId="1504849223" sldId="7326"/>
        </pc:sldMkLst>
        <pc:spChg chg="mod">
          <ac:chgData name="Garus-Kogi, Oghenedoro F SPDC-IUC/G/T" userId="78f19ff7-fab7-43d5-a554-8985d8c96af4" providerId="ADAL" clId="{CFE8BFC7-1DC3-46F2-A0AD-39D2740EEF63}" dt="2024-02-27T08:04:23.391" v="118" actId="948"/>
          <ac:spMkLst>
            <pc:docMk/>
            <pc:sldMk cId="1504849223" sldId="7326"/>
            <ac:spMk id="2" creationId="{AD86F2BD-3566-C719-67E8-7D7D02F56458}"/>
          </ac:spMkLst>
        </pc:spChg>
        <pc:spChg chg="add del mod modVis">
          <ac:chgData name="Garus-Kogi, Oghenedoro F SPDC-IUC/G/T" userId="78f19ff7-fab7-43d5-a554-8985d8c96af4" providerId="ADAL" clId="{CFE8BFC7-1DC3-46F2-A0AD-39D2740EEF63}" dt="2024-02-27T08:04:23.418" v="141"/>
          <ac:spMkLst>
            <pc:docMk/>
            <pc:sldMk cId="1504849223" sldId="7326"/>
            <ac:spMk id="6" creationId="{4DD3523B-847A-2611-60B9-DC997CF6A74F}"/>
          </ac:spMkLst>
        </pc:spChg>
        <pc:graphicFrameChg chg="mod">
          <ac:chgData name="Garus-Kogi, Oghenedoro F SPDC-IUC/G/T" userId="78f19ff7-fab7-43d5-a554-8985d8c96af4" providerId="ADAL" clId="{CFE8BFC7-1DC3-46F2-A0AD-39D2740EEF63}" dt="2024-02-27T08:04:23.421" v="143"/>
          <ac:graphicFrameMkLst>
            <pc:docMk/>
            <pc:sldMk cId="1504849223" sldId="7326"/>
            <ac:graphicFrameMk id="5" creationId="{91D246B6-467B-497B-E90E-082622D5F0B6}"/>
          </ac:graphicFrameMkLst>
        </pc:graphicFrameChg>
        <pc:graphicFrameChg chg="add mod">
          <ac:chgData name="Garus-Kogi, Oghenedoro F SPDC-IUC/G/T" userId="78f19ff7-fab7-43d5-a554-8985d8c96af4" providerId="ADAL" clId="{CFE8BFC7-1DC3-46F2-A0AD-39D2740EEF63}" dt="2024-02-27T09:16:36.789" v="497"/>
          <ac:graphicFrameMkLst>
            <pc:docMk/>
            <pc:sldMk cId="1504849223" sldId="7326"/>
            <ac:graphicFrameMk id="7" creationId="{3735D6D9-125D-7174-FAF3-1173D419B433}"/>
          </ac:graphicFrameMkLst>
        </pc:graphicFrameChg>
        <pc:graphicFrameChg chg="mod">
          <ac:chgData name="Garus-Kogi, Oghenedoro F SPDC-IUC/G/T" userId="78f19ff7-fab7-43d5-a554-8985d8c96af4" providerId="ADAL" clId="{CFE8BFC7-1DC3-46F2-A0AD-39D2740EEF63}" dt="2024-02-27T08:43:00.149" v="370" actId="20577"/>
          <ac:graphicFrameMkLst>
            <pc:docMk/>
            <pc:sldMk cId="1504849223" sldId="7326"/>
            <ac:graphicFrameMk id="9" creationId="{D0DECEEE-FFDD-E5A3-8D3A-2BDCDB964519}"/>
          </ac:graphicFrameMkLst>
        </pc:graphicFrameChg>
      </pc:sldChg>
      <pc:sldChg chg="addSp delSp modSp mod">
        <pc:chgData name="Garus-Kogi, Oghenedoro F SPDC-IUC/G/T" userId="78f19ff7-fab7-43d5-a554-8985d8c96af4" providerId="ADAL" clId="{CFE8BFC7-1DC3-46F2-A0AD-39D2740EEF63}" dt="2024-02-27T09:16:23.799" v="495" actId="14100"/>
        <pc:sldMkLst>
          <pc:docMk/>
          <pc:sldMk cId="4244598031" sldId="7328"/>
        </pc:sldMkLst>
        <pc:graphicFrameChg chg="mod modGraphic">
          <ac:chgData name="Garus-Kogi, Oghenedoro F SPDC-IUC/G/T" userId="78f19ff7-fab7-43d5-a554-8985d8c96af4" providerId="ADAL" clId="{CFE8BFC7-1DC3-46F2-A0AD-39D2740EEF63}" dt="2024-02-27T08:44:04.315" v="375" actId="207"/>
          <ac:graphicFrameMkLst>
            <pc:docMk/>
            <pc:sldMk cId="4244598031" sldId="7328"/>
            <ac:graphicFrameMk id="4" creationId="{A40B2DAA-F28A-C24E-F507-A3F3491C2708}"/>
          </ac:graphicFrameMkLst>
        </pc:graphicFrameChg>
        <pc:graphicFrameChg chg="add del mod modGraphic">
          <ac:chgData name="Garus-Kogi, Oghenedoro F SPDC-IUC/G/T" userId="78f19ff7-fab7-43d5-a554-8985d8c96af4" providerId="ADAL" clId="{CFE8BFC7-1DC3-46F2-A0AD-39D2740EEF63}" dt="2024-02-27T09:16:23.799" v="495" actId="14100"/>
          <ac:graphicFrameMkLst>
            <pc:docMk/>
            <pc:sldMk cId="4244598031" sldId="7328"/>
            <ac:graphicFrameMk id="7" creationId="{214CAB49-9958-2F8C-8505-720DFFF4DFC0}"/>
          </ac:graphicFrameMkLst>
        </pc:graphicFrameChg>
      </pc:sldChg>
      <pc:sldChg chg="modSp mod">
        <pc:chgData name="Garus-Kogi, Oghenedoro F SPDC-IUC/G/T" userId="78f19ff7-fab7-43d5-a554-8985d8c96af4" providerId="ADAL" clId="{CFE8BFC7-1DC3-46F2-A0AD-39D2740EEF63}" dt="2024-02-29T12:52:06.481" v="1003" actId="20577"/>
        <pc:sldMkLst>
          <pc:docMk/>
          <pc:sldMk cId="3797906392" sldId="7329"/>
        </pc:sldMkLst>
        <pc:spChg chg="mod">
          <ac:chgData name="Garus-Kogi, Oghenedoro F SPDC-IUC/G/T" userId="78f19ff7-fab7-43d5-a554-8985d8c96af4" providerId="ADAL" clId="{CFE8BFC7-1DC3-46F2-A0AD-39D2740EEF63}" dt="2024-02-29T12:52:06.481" v="1003" actId="20577"/>
          <ac:spMkLst>
            <pc:docMk/>
            <pc:sldMk cId="3797906392" sldId="7329"/>
            <ac:spMk id="15" creationId="{70114D98-9C2C-EAD1-51B0-E2B873607ECF}"/>
          </ac:spMkLst>
        </pc:spChg>
        <pc:graphicFrameChg chg="modGraphic">
          <ac:chgData name="Garus-Kogi, Oghenedoro F SPDC-IUC/G/T" userId="78f19ff7-fab7-43d5-a554-8985d8c96af4" providerId="ADAL" clId="{CFE8BFC7-1DC3-46F2-A0AD-39D2740EEF63}" dt="2024-02-29T12:37:18.886" v="990" actId="20577"/>
          <ac:graphicFrameMkLst>
            <pc:docMk/>
            <pc:sldMk cId="3797906392" sldId="7329"/>
            <ac:graphicFrameMk id="13" creationId="{15B94F6E-F95E-7E39-7B7A-49367E3F9299}"/>
          </ac:graphicFrameMkLst>
        </pc:graphicFrameChg>
        <pc:graphicFrameChg chg="mod modGraphic">
          <ac:chgData name="Garus-Kogi, Oghenedoro F SPDC-IUC/G/T" userId="78f19ff7-fab7-43d5-a554-8985d8c96af4" providerId="ADAL" clId="{CFE8BFC7-1DC3-46F2-A0AD-39D2740EEF63}" dt="2024-02-29T12:52:02.185" v="1002" actId="20577"/>
          <ac:graphicFrameMkLst>
            <pc:docMk/>
            <pc:sldMk cId="3797906392" sldId="7329"/>
            <ac:graphicFrameMk id="14" creationId="{6BFA3BCF-199B-F9FB-6215-4B568AEB997E}"/>
          </ac:graphicFrameMkLst>
        </pc:graphicFrame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801DDE2-A42E-4BA8-91A5-0E067C994F63}" type="doc">
      <dgm:prSet loTypeId="urn:microsoft.com/office/officeart/2008/layout/HorizontalMultiLevelHierarchy" loCatId="hierarchy" qsTypeId="urn:microsoft.com/office/officeart/2005/8/quickstyle/simple1" qsCatId="simple" csTypeId="urn:microsoft.com/office/officeart/2005/8/colors/accent3_2" csCatId="accent3" phldr="1"/>
      <dgm:spPr/>
      <dgm:t>
        <a:bodyPr/>
        <a:lstStyle/>
        <a:p>
          <a:endParaRPr lang="en-US"/>
        </a:p>
      </dgm:t>
    </dgm:pt>
    <dgm:pt modelId="{6FA16986-560A-437E-8974-D6FF36C0DF28}">
      <dgm:prSet phldrT="[Text]" custT="1"/>
      <dgm:spPr/>
      <dgm:t>
        <a:bodyPr/>
        <a:lstStyle/>
        <a:p>
          <a:pPr algn="ctr"/>
          <a:r>
            <a:rPr lang="en-US" sz="1800" u="none" strike="noStrike">
              <a:effectLst/>
            </a:rPr>
            <a:t>Slow Loading at FOT</a:t>
          </a:r>
          <a:endParaRPr lang="en-US" sz="1800" dirty="0"/>
        </a:p>
      </dgm:t>
    </dgm:pt>
    <dgm:pt modelId="{86B6C37A-9D8D-4336-9BEF-B94ACD1419B2}" type="parTrans" cxnId="{8DE27B4C-D77D-4DA3-AE3A-8F1138B1C42A}">
      <dgm:prSet/>
      <dgm:spPr/>
      <dgm:t>
        <a:bodyPr/>
        <a:lstStyle/>
        <a:p>
          <a:pPr algn="l"/>
          <a:endParaRPr lang="en-US">
            <a:solidFill>
              <a:srgbClr val="4A4A4A"/>
            </a:solidFill>
          </a:endParaRPr>
        </a:p>
      </dgm:t>
    </dgm:pt>
    <dgm:pt modelId="{D4E73E94-85F6-4919-B44B-E7917412E6F1}" type="sibTrans" cxnId="{8DE27B4C-D77D-4DA3-AE3A-8F1138B1C42A}">
      <dgm:prSet/>
      <dgm:spPr/>
      <dgm:t>
        <a:bodyPr/>
        <a:lstStyle/>
        <a:p>
          <a:pPr algn="l"/>
          <a:endParaRPr lang="en-US">
            <a:solidFill>
              <a:srgbClr val="4A4A4A"/>
            </a:solidFill>
          </a:endParaRPr>
        </a:p>
      </dgm:t>
    </dgm:pt>
    <dgm:pt modelId="{1D5F2490-3EC6-4523-AB04-E2372950104F}">
      <dgm:prSet phldrT="[Text]" custT="1"/>
      <dgm:spPr/>
      <dgm:t>
        <a:bodyPr/>
        <a:lstStyle/>
        <a:p>
          <a:pPr algn="l"/>
          <a:r>
            <a:rPr lang="en-US" sz="1200" u="none" strike="noStrike">
              <a:effectLst/>
            </a:rPr>
            <a:t>Loading on TCMS</a:t>
          </a:r>
          <a:endParaRPr lang="en-US" sz="1200" dirty="0"/>
        </a:p>
      </dgm:t>
    </dgm:pt>
    <dgm:pt modelId="{763E3997-12E6-4AB4-95DE-40299B38CBDF}" type="parTrans" cxnId="{A0CDCD5F-DDAC-4B36-85EE-7C1BC1837AF7}">
      <dgm:prSet/>
      <dgm:spPr/>
      <dgm:t>
        <a:bodyPr/>
        <a:lstStyle/>
        <a:p>
          <a:pPr algn="l"/>
          <a:endParaRPr lang="en-US">
            <a:solidFill>
              <a:srgbClr val="4A4A4A"/>
            </a:solidFill>
          </a:endParaRPr>
        </a:p>
      </dgm:t>
    </dgm:pt>
    <dgm:pt modelId="{4ED94E7D-255F-454B-BECA-B466A2339E3C}" type="sibTrans" cxnId="{A0CDCD5F-DDAC-4B36-85EE-7C1BC1837AF7}">
      <dgm:prSet/>
      <dgm:spPr/>
      <dgm:t>
        <a:bodyPr/>
        <a:lstStyle/>
        <a:p>
          <a:pPr algn="l"/>
          <a:endParaRPr lang="en-US">
            <a:solidFill>
              <a:srgbClr val="4A4A4A"/>
            </a:solidFill>
          </a:endParaRPr>
        </a:p>
      </dgm:t>
    </dgm:pt>
    <dgm:pt modelId="{484B2EB4-86F2-4AA8-9A30-475AE4713BC9}">
      <dgm:prSet phldrT="[Text]" custT="1"/>
      <dgm:spPr/>
      <dgm:t>
        <a:bodyPr/>
        <a:lstStyle/>
        <a:p>
          <a:pPr algn="l"/>
          <a:r>
            <a:rPr lang="en-US" sz="1200" u="none" strike="noStrike">
              <a:effectLst/>
            </a:rPr>
            <a:t>Loading from SBM1 with one floating hose or one subsea hose</a:t>
          </a:r>
          <a:endParaRPr lang="en-US" sz="1200" dirty="0"/>
        </a:p>
      </dgm:t>
    </dgm:pt>
    <dgm:pt modelId="{0B33400F-190F-495B-8DF1-B08E8D2BC7D8}" type="parTrans" cxnId="{50C06E93-0855-4745-B23A-996D2A892C67}">
      <dgm:prSet/>
      <dgm:spPr/>
      <dgm:t>
        <a:bodyPr/>
        <a:lstStyle/>
        <a:p>
          <a:pPr algn="l"/>
          <a:endParaRPr lang="en-US">
            <a:solidFill>
              <a:srgbClr val="4A4A4A"/>
            </a:solidFill>
          </a:endParaRPr>
        </a:p>
      </dgm:t>
    </dgm:pt>
    <dgm:pt modelId="{14B6D2E3-3C1F-4D4A-81E5-E9BB021A76E2}" type="sibTrans" cxnId="{50C06E93-0855-4745-B23A-996D2A892C67}">
      <dgm:prSet/>
      <dgm:spPr/>
      <dgm:t>
        <a:bodyPr/>
        <a:lstStyle/>
        <a:p>
          <a:pPr algn="l"/>
          <a:endParaRPr lang="en-US">
            <a:solidFill>
              <a:srgbClr val="4A4A4A"/>
            </a:solidFill>
          </a:endParaRPr>
        </a:p>
      </dgm:t>
    </dgm:pt>
    <dgm:pt modelId="{CD3558BF-93B8-4E0E-9F06-D6638B42BA25}">
      <dgm:prSet phldrT="[Text]" custT="1"/>
      <dgm:spPr/>
      <dgm:t>
        <a:bodyPr/>
        <a:lstStyle/>
        <a:p>
          <a:pPr algn="l"/>
          <a:r>
            <a:rPr lang="en-US" sz="1200" u="none" strike="noStrike">
              <a:effectLst/>
            </a:rPr>
            <a:t>FOT export flow constraints from onshore systems i.e. loading at rates below shore max.</a:t>
          </a:r>
          <a:endParaRPr lang="en-US" sz="1200" dirty="0"/>
        </a:p>
      </dgm:t>
    </dgm:pt>
    <dgm:pt modelId="{CA876EE1-6265-4752-8281-6ADCA6C89862}" type="parTrans" cxnId="{42701ED6-A28A-43D7-8C09-E2EE7383971E}">
      <dgm:prSet/>
      <dgm:spPr/>
      <dgm:t>
        <a:bodyPr/>
        <a:lstStyle/>
        <a:p>
          <a:pPr algn="l"/>
          <a:endParaRPr lang="en-US">
            <a:solidFill>
              <a:srgbClr val="4A4A4A"/>
            </a:solidFill>
          </a:endParaRPr>
        </a:p>
      </dgm:t>
    </dgm:pt>
    <dgm:pt modelId="{18E46EC8-D832-40B1-A3B9-BA6CAE1189A2}" type="sibTrans" cxnId="{42701ED6-A28A-43D7-8C09-E2EE7383971E}">
      <dgm:prSet/>
      <dgm:spPr/>
      <dgm:t>
        <a:bodyPr/>
        <a:lstStyle/>
        <a:p>
          <a:pPr algn="l"/>
          <a:endParaRPr lang="en-US">
            <a:solidFill>
              <a:srgbClr val="4A4A4A"/>
            </a:solidFill>
          </a:endParaRPr>
        </a:p>
      </dgm:t>
    </dgm:pt>
    <dgm:pt modelId="{EC02711C-11FE-45BA-AC82-5F75F69FA6CD}">
      <dgm:prSet phldrT="[Text]" custT="1"/>
      <dgm:spPr/>
      <dgm:t>
        <a:bodyPr/>
        <a:lstStyle/>
        <a:p>
          <a:pPr algn="l"/>
          <a:r>
            <a:rPr lang="en-US" sz="1200" u="none" strike="noStrike">
              <a:effectLst/>
            </a:rPr>
            <a:t>SBM2 was replaced by TCMS</a:t>
          </a:r>
          <a:endParaRPr lang="en-US" sz="1200" dirty="0"/>
        </a:p>
      </dgm:t>
    </dgm:pt>
    <dgm:pt modelId="{63C28EA4-28C0-4938-BBFE-90FCABE24F41}" type="parTrans" cxnId="{B18C7E67-1595-466B-AE7A-7C68AB63A230}">
      <dgm:prSet/>
      <dgm:spPr/>
      <dgm:t>
        <a:bodyPr/>
        <a:lstStyle/>
        <a:p>
          <a:pPr algn="l"/>
          <a:endParaRPr lang="en-US">
            <a:solidFill>
              <a:srgbClr val="4A4A4A"/>
            </a:solidFill>
          </a:endParaRPr>
        </a:p>
      </dgm:t>
    </dgm:pt>
    <dgm:pt modelId="{012A1100-D88A-4111-8C88-0DC5556DE533}" type="sibTrans" cxnId="{B18C7E67-1595-466B-AE7A-7C68AB63A230}">
      <dgm:prSet/>
      <dgm:spPr/>
      <dgm:t>
        <a:bodyPr/>
        <a:lstStyle/>
        <a:p>
          <a:pPr algn="l"/>
          <a:endParaRPr lang="en-US">
            <a:solidFill>
              <a:srgbClr val="4A4A4A"/>
            </a:solidFill>
          </a:endParaRPr>
        </a:p>
      </dgm:t>
    </dgm:pt>
    <dgm:pt modelId="{7786389F-4B0C-442C-85A5-2AF7EFCE510E}">
      <dgm:prSet phldrT="[Text]" custT="1"/>
      <dgm:spPr/>
      <dgm:t>
        <a:bodyPr/>
        <a:lstStyle/>
        <a:p>
          <a:pPr algn="l"/>
          <a:r>
            <a:rPr lang="en-US" sz="1200" u="none" strike="noStrike">
              <a:effectLst/>
            </a:rPr>
            <a:t>TCMS was installed with design limitations</a:t>
          </a:r>
          <a:endParaRPr lang="en-US" sz="1200" dirty="0"/>
        </a:p>
      </dgm:t>
    </dgm:pt>
    <dgm:pt modelId="{CDA0401B-7818-49C6-AB4D-6EB8FD14C781}" type="parTrans" cxnId="{A15176A3-778D-4EC4-A084-F976CEC63285}">
      <dgm:prSet/>
      <dgm:spPr/>
      <dgm:t>
        <a:bodyPr/>
        <a:lstStyle/>
        <a:p>
          <a:pPr algn="l"/>
          <a:endParaRPr lang="en-US">
            <a:solidFill>
              <a:srgbClr val="4A4A4A"/>
            </a:solidFill>
          </a:endParaRPr>
        </a:p>
      </dgm:t>
    </dgm:pt>
    <dgm:pt modelId="{8405A0C3-417E-48B2-AD48-734F0B52751B}" type="sibTrans" cxnId="{A15176A3-778D-4EC4-A084-F976CEC63285}">
      <dgm:prSet/>
      <dgm:spPr/>
      <dgm:t>
        <a:bodyPr/>
        <a:lstStyle/>
        <a:p>
          <a:pPr algn="l"/>
          <a:endParaRPr lang="en-US">
            <a:solidFill>
              <a:srgbClr val="4A4A4A"/>
            </a:solidFill>
          </a:endParaRPr>
        </a:p>
      </dgm:t>
    </dgm:pt>
    <dgm:pt modelId="{F32E8124-9CF3-4597-BB05-AE652E93DBDE}">
      <dgm:prSet phldrT="[Text]" custT="1"/>
      <dgm:spPr/>
      <dgm:t>
        <a:bodyPr/>
        <a:lstStyle/>
        <a:p>
          <a:pPr algn="l"/>
          <a:r>
            <a:rPr lang="en-US" sz="1200" u="none" strike="noStrike">
              <a:effectLst/>
            </a:rPr>
            <a:t>SBM1 and accessories failure/repair</a:t>
          </a:r>
          <a:endParaRPr lang="en-US" sz="1200" dirty="0"/>
        </a:p>
      </dgm:t>
    </dgm:pt>
    <dgm:pt modelId="{4B9E2C0C-006F-4654-81CA-5FCA635517F5}" type="parTrans" cxnId="{C0853A34-29E1-48C1-BCAD-BEA6328FB456}">
      <dgm:prSet/>
      <dgm:spPr/>
      <dgm:t>
        <a:bodyPr/>
        <a:lstStyle/>
        <a:p>
          <a:pPr algn="l"/>
          <a:endParaRPr lang="en-US">
            <a:solidFill>
              <a:srgbClr val="4A4A4A"/>
            </a:solidFill>
          </a:endParaRPr>
        </a:p>
      </dgm:t>
    </dgm:pt>
    <dgm:pt modelId="{1F14B8A0-1564-4A2B-BDF5-E265AA050326}" type="sibTrans" cxnId="{C0853A34-29E1-48C1-BCAD-BEA6328FB456}">
      <dgm:prSet/>
      <dgm:spPr/>
      <dgm:t>
        <a:bodyPr/>
        <a:lstStyle/>
        <a:p>
          <a:pPr algn="l"/>
          <a:endParaRPr lang="en-US">
            <a:solidFill>
              <a:srgbClr val="4A4A4A"/>
            </a:solidFill>
          </a:endParaRPr>
        </a:p>
      </dgm:t>
    </dgm:pt>
    <dgm:pt modelId="{206DEEAC-C75F-4BBD-B20D-ED3F08F26FC5}">
      <dgm:prSet phldrT="[Text]" custT="1"/>
      <dgm:spPr/>
      <dgm:t>
        <a:bodyPr/>
        <a:lstStyle/>
        <a:p>
          <a:pPr algn="l"/>
          <a:r>
            <a:rPr lang="en-US" sz="1200" u="none" strike="noStrike">
              <a:effectLst/>
            </a:rPr>
            <a:t>Floating Hose - Lacerations on sections of the floating hose string.</a:t>
          </a:r>
          <a:endParaRPr lang="en-US" sz="1200" dirty="0"/>
        </a:p>
      </dgm:t>
    </dgm:pt>
    <dgm:pt modelId="{9AB7E38E-E2E2-4645-8862-F5835A5F3579}" type="parTrans" cxnId="{30D396C4-F8BE-4BA5-AA5F-6D529C4056F4}">
      <dgm:prSet/>
      <dgm:spPr/>
      <dgm:t>
        <a:bodyPr/>
        <a:lstStyle/>
        <a:p>
          <a:pPr algn="l"/>
          <a:endParaRPr lang="en-US">
            <a:solidFill>
              <a:srgbClr val="4A4A4A"/>
            </a:solidFill>
          </a:endParaRPr>
        </a:p>
      </dgm:t>
    </dgm:pt>
    <dgm:pt modelId="{B9FD5C00-158D-4978-92E6-C591A2F6C19D}" type="sibTrans" cxnId="{30D396C4-F8BE-4BA5-AA5F-6D529C4056F4}">
      <dgm:prSet/>
      <dgm:spPr/>
      <dgm:t>
        <a:bodyPr/>
        <a:lstStyle/>
        <a:p>
          <a:pPr algn="l"/>
          <a:endParaRPr lang="en-US">
            <a:solidFill>
              <a:srgbClr val="4A4A4A"/>
            </a:solidFill>
          </a:endParaRPr>
        </a:p>
      </dgm:t>
    </dgm:pt>
    <dgm:pt modelId="{D17CB6CD-0DAF-4AFC-B088-BD9DA39CADFB}">
      <dgm:prSet phldrT="[Text]" custT="1"/>
      <dgm:spPr/>
      <dgm:t>
        <a:bodyPr/>
        <a:lstStyle/>
        <a:p>
          <a:pPr algn="l"/>
          <a:r>
            <a:rPr lang="en-US" sz="1200" u="none" strike="noStrike">
              <a:effectLst/>
            </a:rPr>
            <a:t>Subsea Hose failure- leak developed</a:t>
          </a:r>
          <a:endParaRPr lang="en-US" sz="1200" dirty="0"/>
        </a:p>
      </dgm:t>
    </dgm:pt>
    <dgm:pt modelId="{599491CD-C938-4E62-8A30-87555E7F78C8}" type="parTrans" cxnId="{662B2BCF-2B3F-4F90-81FF-35A38AB713BE}">
      <dgm:prSet/>
      <dgm:spPr/>
      <dgm:t>
        <a:bodyPr/>
        <a:lstStyle/>
        <a:p>
          <a:pPr algn="l"/>
          <a:endParaRPr lang="en-US">
            <a:solidFill>
              <a:srgbClr val="4A4A4A"/>
            </a:solidFill>
          </a:endParaRPr>
        </a:p>
      </dgm:t>
    </dgm:pt>
    <dgm:pt modelId="{B3335110-1CF7-41D9-9AA1-52EF040128DF}" type="sibTrans" cxnId="{662B2BCF-2B3F-4F90-81FF-35A38AB713BE}">
      <dgm:prSet/>
      <dgm:spPr/>
      <dgm:t>
        <a:bodyPr/>
        <a:lstStyle/>
        <a:p>
          <a:pPr algn="l"/>
          <a:endParaRPr lang="en-US">
            <a:solidFill>
              <a:srgbClr val="4A4A4A"/>
            </a:solidFill>
          </a:endParaRPr>
        </a:p>
      </dgm:t>
    </dgm:pt>
    <dgm:pt modelId="{51492099-7F4C-4BDC-8222-3F07A4FE8306}">
      <dgm:prSet phldrT="[Text]" custT="1"/>
      <dgm:spPr/>
      <dgm:t>
        <a:bodyPr/>
        <a:lstStyle/>
        <a:p>
          <a:pPr algn="l"/>
          <a:r>
            <a:rPr lang="en-US" sz="1200" u="none" strike="noStrike">
              <a:effectLst/>
            </a:rPr>
            <a:t>Equipment required for shore max:</a:t>
          </a:r>
          <a:br>
            <a:rPr lang="en-US" sz="1200" u="none" strike="noStrike">
              <a:effectLst/>
            </a:rPr>
          </a:br>
          <a:r>
            <a:rPr lang="en-US" sz="1200" u="none" strike="noStrike">
              <a:effectLst/>
            </a:rPr>
            <a:t>3 Power Turbines + 5 booster pumps + 4 Export pumps + 5 meter runs.</a:t>
          </a:r>
          <a:endParaRPr lang="en-US" sz="1200" dirty="0"/>
        </a:p>
      </dgm:t>
    </dgm:pt>
    <dgm:pt modelId="{C8606509-1AB0-42FF-8120-45504DED762E}" type="parTrans" cxnId="{912EB61A-7A9C-4CCC-8505-0272633123B2}">
      <dgm:prSet/>
      <dgm:spPr/>
      <dgm:t>
        <a:bodyPr/>
        <a:lstStyle/>
        <a:p>
          <a:pPr algn="l"/>
          <a:endParaRPr lang="en-US">
            <a:solidFill>
              <a:srgbClr val="4A4A4A"/>
            </a:solidFill>
          </a:endParaRPr>
        </a:p>
      </dgm:t>
    </dgm:pt>
    <dgm:pt modelId="{C40D0968-D083-4F26-906D-6FA5DD2DA4A3}" type="sibTrans" cxnId="{912EB61A-7A9C-4CCC-8505-0272633123B2}">
      <dgm:prSet/>
      <dgm:spPr/>
      <dgm:t>
        <a:bodyPr/>
        <a:lstStyle/>
        <a:p>
          <a:pPr algn="l"/>
          <a:endParaRPr lang="en-US">
            <a:solidFill>
              <a:srgbClr val="4A4A4A"/>
            </a:solidFill>
          </a:endParaRPr>
        </a:p>
      </dgm:t>
    </dgm:pt>
    <dgm:pt modelId="{B2DC924A-CE21-4910-AE93-4B6B98605D75}">
      <dgm:prSet phldrT="[Text]" custT="1"/>
      <dgm:spPr/>
      <dgm:t>
        <a:bodyPr/>
        <a:lstStyle/>
        <a:p>
          <a:pPr algn="l"/>
          <a:r>
            <a:rPr lang="en-US" sz="1200" u="none" strike="noStrike">
              <a:effectLst/>
            </a:rPr>
            <a:t>Equipment Nos installed:</a:t>
          </a:r>
          <a:br>
            <a:rPr lang="en-US" sz="1200" u="none" strike="noStrike">
              <a:effectLst/>
            </a:rPr>
          </a:br>
          <a:r>
            <a:rPr lang="en-US" sz="1200" u="none" strike="noStrike">
              <a:effectLst/>
            </a:rPr>
            <a:t>6 Power Turbines + 5 booster pumps + 5 Export pumps + 6 meter runs</a:t>
          </a:r>
          <a:endParaRPr lang="en-US" sz="1200" dirty="0"/>
        </a:p>
      </dgm:t>
    </dgm:pt>
    <dgm:pt modelId="{2DCBFACF-4BB5-449F-A2CA-90569BB10FF0}" type="parTrans" cxnId="{5980B4B1-EB6B-4254-B6C6-720F66F4D057}">
      <dgm:prSet/>
      <dgm:spPr/>
      <dgm:t>
        <a:bodyPr/>
        <a:lstStyle/>
        <a:p>
          <a:pPr algn="l"/>
          <a:endParaRPr lang="en-US">
            <a:solidFill>
              <a:srgbClr val="4A4A4A"/>
            </a:solidFill>
          </a:endParaRPr>
        </a:p>
      </dgm:t>
    </dgm:pt>
    <dgm:pt modelId="{C19BBBFE-2F90-4467-83D3-90015AC09505}" type="sibTrans" cxnId="{5980B4B1-EB6B-4254-B6C6-720F66F4D057}">
      <dgm:prSet/>
      <dgm:spPr/>
      <dgm:t>
        <a:bodyPr/>
        <a:lstStyle/>
        <a:p>
          <a:pPr algn="l"/>
          <a:endParaRPr lang="en-US">
            <a:solidFill>
              <a:srgbClr val="4A4A4A"/>
            </a:solidFill>
          </a:endParaRPr>
        </a:p>
      </dgm:t>
    </dgm:pt>
    <dgm:pt modelId="{FCFE0C13-6EC7-4F18-BAF7-5D6029ED6B07}">
      <dgm:prSet phldrT="[Text]" custT="1"/>
      <dgm:spPr/>
      <dgm:t>
        <a:bodyPr/>
        <a:lstStyle/>
        <a:p>
          <a:pPr algn="l"/>
          <a:r>
            <a:rPr lang="en-US" sz="1200" u="none" strike="noStrike">
              <a:effectLst/>
            </a:rPr>
            <a:t>4oo5 Export pumps available.</a:t>
          </a:r>
          <a:br>
            <a:rPr lang="en-US" sz="1200" u="none" strike="noStrike">
              <a:effectLst/>
            </a:rPr>
          </a:br>
          <a:r>
            <a:rPr lang="en-US" sz="1200" u="none" strike="noStrike">
              <a:effectLst/>
            </a:rPr>
            <a:t>Failure of any one of the available export pumps means FOT is unable to load at shore max.</a:t>
          </a:r>
          <a:endParaRPr lang="en-US" sz="1200" dirty="0"/>
        </a:p>
      </dgm:t>
    </dgm:pt>
    <dgm:pt modelId="{9488DF7B-E3F4-4857-BAA3-2AB36C81F8CD}" type="parTrans" cxnId="{B27FAE40-DFF5-4112-B490-77D117859B51}">
      <dgm:prSet/>
      <dgm:spPr/>
      <dgm:t>
        <a:bodyPr/>
        <a:lstStyle/>
        <a:p>
          <a:pPr algn="l"/>
          <a:endParaRPr lang="en-US">
            <a:solidFill>
              <a:srgbClr val="4A4A4A"/>
            </a:solidFill>
          </a:endParaRPr>
        </a:p>
      </dgm:t>
    </dgm:pt>
    <dgm:pt modelId="{5C7D087A-FF61-4A44-B311-D93EC330E069}" type="sibTrans" cxnId="{B27FAE40-DFF5-4112-B490-77D117859B51}">
      <dgm:prSet/>
      <dgm:spPr/>
      <dgm:t>
        <a:bodyPr/>
        <a:lstStyle/>
        <a:p>
          <a:pPr algn="l"/>
          <a:endParaRPr lang="en-US">
            <a:solidFill>
              <a:srgbClr val="4A4A4A"/>
            </a:solidFill>
          </a:endParaRPr>
        </a:p>
      </dgm:t>
    </dgm:pt>
    <dgm:pt modelId="{FE693CB0-626B-45CA-A924-3861892B4161}">
      <dgm:prSet phldrT="[Text]" custT="1"/>
      <dgm:spPr/>
      <dgm:t>
        <a:bodyPr/>
        <a:lstStyle/>
        <a:p>
          <a:pPr algn="l"/>
          <a:r>
            <a:rPr lang="en-US" sz="1200" u="none" strike="noStrike" dirty="0">
              <a:effectLst/>
            </a:rPr>
            <a:t>Flow rate at 50% of Shore Max loading rates; Full parcel of 1million </a:t>
          </a:r>
          <a:r>
            <a:rPr lang="en-US" sz="1200" u="none" strike="noStrike" dirty="0" err="1">
              <a:effectLst/>
            </a:rPr>
            <a:t>bbls</a:t>
          </a:r>
          <a:r>
            <a:rPr lang="en-US" sz="1200" u="none" strike="noStrike" dirty="0">
              <a:effectLst/>
            </a:rPr>
            <a:t> will take circa 28hrs @ 35kbbls/</a:t>
          </a:r>
          <a:r>
            <a:rPr lang="en-US" sz="1200" u="none" strike="noStrike" dirty="0" err="1">
              <a:effectLst/>
            </a:rPr>
            <a:t>hr</a:t>
          </a:r>
          <a:br>
            <a:rPr lang="en-US" sz="1200" u="none" strike="noStrike" dirty="0">
              <a:effectLst/>
            </a:rPr>
          </a:br>
          <a:r>
            <a:rPr lang="en-US" sz="1200" u="none" strike="noStrike" dirty="0">
              <a:effectLst/>
            </a:rPr>
            <a:t>Loading at TCMS requires much calmer weather conditions than the SBM can withstand - offtake will be delayed or suspended if already in progress when weather conditions deteriorate.</a:t>
          </a:r>
          <a:endParaRPr lang="en-US" sz="1200" dirty="0"/>
        </a:p>
      </dgm:t>
    </dgm:pt>
    <dgm:pt modelId="{C5CA3E4A-1039-4046-8532-DF28254B84B8}" type="parTrans" cxnId="{04601A4C-9F40-4725-A0AE-6A792E007F6F}">
      <dgm:prSet/>
      <dgm:spPr/>
      <dgm:t>
        <a:bodyPr/>
        <a:lstStyle/>
        <a:p>
          <a:pPr algn="l"/>
          <a:endParaRPr lang="en-US">
            <a:solidFill>
              <a:srgbClr val="4A4A4A"/>
            </a:solidFill>
          </a:endParaRPr>
        </a:p>
      </dgm:t>
    </dgm:pt>
    <dgm:pt modelId="{1C4FA6E5-555C-4660-80B1-FCDAD28CBE6A}" type="sibTrans" cxnId="{04601A4C-9F40-4725-A0AE-6A792E007F6F}">
      <dgm:prSet/>
      <dgm:spPr/>
      <dgm:t>
        <a:bodyPr/>
        <a:lstStyle/>
        <a:p>
          <a:pPr algn="l"/>
          <a:endParaRPr lang="en-US">
            <a:solidFill>
              <a:srgbClr val="4A4A4A"/>
            </a:solidFill>
          </a:endParaRPr>
        </a:p>
      </dgm:t>
    </dgm:pt>
    <dgm:pt modelId="{63E5AFD9-B084-495A-BF61-15A125958187}" type="pres">
      <dgm:prSet presAssocID="{5801DDE2-A42E-4BA8-91A5-0E067C994F63}" presName="Name0" presStyleCnt="0">
        <dgm:presLayoutVars>
          <dgm:chPref val="1"/>
          <dgm:dir/>
          <dgm:animOne val="branch"/>
          <dgm:animLvl val="lvl"/>
          <dgm:resizeHandles val="exact"/>
        </dgm:presLayoutVars>
      </dgm:prSet>
      <dgm:spPr/>
    </dgm:pt>
    <dgm:pt modelId="{350C1F4C-2088-4C4E-9A64-0830F788E2BD}" type="pres">
      <dgm:prSet presAssocID="{6FA16986-560A-437E-8974-D6FF36C0DF28}" presName="root1" presStyleCnt="0"/>
      <dgm:spPr/>
    </dgm:pt>
    <dgm:pt modelId="{A1C70032-1CFC-400C-A010-3177820BD1C3}" type="pres">
      <dgm:prSet presAssocID="{6FA16986-560A-437E-8974-D6FF36C0DF28}" presName="LevelOneTextNode" presStyleLbl="node0" presStyleIdx="0" presStyleCnt="1">
        <dgm:presLayoutVars>
          <dgm:chPref val="3"/>
        </dgm:presLayoutVars>
      </dgm:prSet>
      <dgm:spPr/>
    </dgm:pt>
    <dgm:pt modelId="{FB7FD716-5D96-49D4-B7AB-E4AE00CB7752}" type="pres">
      <dgm:prSet presAssocID="{6FA16986-560A-437E-8974-D6FF36C0DF28}" presName="level2hierChild" presStyleCnt="0"/>
      <dgm:spPr/>
    </dgm:pt>
    <dgm:pt modelId="{82F3627D-A3AF-4C7A-8221-284CCEF5310D}" type="pres">
      <dgm:prSet presAssocID="{763E3997-12E6-4AB4-95DE-40299B38CBDF}" presName="conn2-1" presStyleLbl="parChTrans1D2" presStyleIdx="0" presStyleCnt="3"/>
      <dgm:spPr/>
    </dgm:pt>
    <dgm:pt modelId="{17DBFC85-EA89-47C2-8761-FEE7486E72C0}" type="pres">
      <dgm:prSet presAssocID="{763E3997-12E6-4AB4-95DE-40299B38CBDF}" presName="connTx" presStyleLbl="parChTrans1D2" presStyleIdx="0" presStyleCnt="3"/>
      <dgm:spPr/>
    </dgm:pt>
    <dgm:pt modelId="{F2033A79-99B7-4A42-957F-10F717A16D85}" type="pres">
      <dgm:prSet presAssocID="{1D5F2490-3EC6-4523-AB04-E2372950104F}" presName="root2" presStyleCnt="0"/>
      <dgm:spPr/>
    </dgm:pt>
    <dgm:pt modelId="{8D8F26BC-DE82-41CA-BAB2-F26FA9CA9F86}" type="pres">
      <dgm:prSet presAssocID="{1D5F2490-3EC6-4523-AB04-E2372950104F}" presName="LevelTwoTextNode" presStyleLbl="node2" presStyleIdx="0" presStyleCnt="3">
        <dgm:presLayoutVars>
          <dgm:chPref val="3"/>
        </dgm:presLayoutVars>
      </dgm:prSet>
      <dgm:spPr/>
    </dgm:pt>
    <dgm:pt modelId="{323919B9-7DB7-43E6-80FF-B44F7CFB4421}" type="pres">
      <dgm:prSet presAssocID="{1D5F2490-3EC6-4523-AB04-E2372950104F}" presName="level3hierChild" presStyleCnt="0"/>
      <dgm:spPr/>
    </dgm:pt>
    <dgm:pt modelId="{9A267720-399B-4975-95B3-153606297D9F}" type="pres">
      <dgm:prSet presAssocID="{63C28EA4-28C0-4938-BBFE-90FCABE24F41}" presName="conn2-1" presStyleLbl="parChTrans1D3" presStyleIdx="0" presStyleCnt="7"/>
      <dgm:spPr/>
    </dgm:pt>
    <dgm:pt modelId="{0D7BB496-3732-40D0-A2FA-2B968EE65F07}" type="pres">
      <dgm:prSet presAssocID="{63C28EA4-28C0-4938-BBFE-90FCABE24F41}" presName="connTx" presStyleLbl="parChTrans1D3" presStyleIdx="0" presStyleCnt="7"/>
      <dgm:spPr/>
    </dgm:pt>
    <dgm:pt modelId="{340CACC2-BD57-4DBC-894F-9B03FB6C7FF6}" type="pres">
      <dgm:prSet presAssocID="{EC02711C-11FE-45BA-AC82-5F75F69FA6CD}" presName="root2" presStyleCnt="0"/>
      <dgm:spPr/>
    </dgm:pt>
    <dgm:pt modelId="{5636877C-069D-4F6E-8906-0049408F7F60}" type="pres">
      <dgm:prSet presAssocID="{EC02711C-11FE-45BA-AC82-5F75F69FA6CD}" presName="LevelTwoTextNode" presStyleLbl="node3" presStyleIdx="0" presStyleCnt="7">
        <dgm:presLayoutVars>
          <dgm:chPref val="3"/>
        </dgm:presLayoutVars>
      </dgm:prSet>
      <dgm:spPr/>
    </dgm:pt>
    <dgm:pt modelId="{1E62C09E-7F27-4696-9693-21499782507F}" type="pres">
      <dgm:prSet presAssocID="{EC02711C-11FE-45BA-AC82-5F75F69FA6CD}" presName="level3hierChild" presStyleCnt="0"/>
      <dgm:spPr/>
    </dgm:pt>
    <dgm:pt modelId="{0939B604-B9EA-4896-AC3E-21F6666988A7}" type="pres">
      <dgm:prSet presAssocID="{CDA0401B-7818-49C6-AB4D-6EB8FD14C781}" presName="conn2-1" presStyleLbl="parChTrans1D3" presStyleIdx="1" presStyleCnt="7"/>
      <dgm:spPr/>
    </dgm:pt>
    <dgm:pt modelId="{7BCA4770-B7F5-4997-B41C-AA19CB836312}" type="pres">
      <dgm:prSet presAssocID="{CDA0401B-7818-49C6-AB4D-6EB8FD14C781}" presName="connTx" presStyleLbl="parChTrans1D3" presStyleIdx="1" presStyleCnt="7"/>
      <dgm:spPr/>
    </dgm:pt>
    <dgm:pt modelId="{40288C7F-2A54-49C2-8C4F-1973BC614710}" type="pres">
      <dgm:prSet presAssocID="{7786389F-4B0C-442C-85A5-2AF7EFCE510E}" presName="root2" presStyleCnt="0"/>
      <dgm:spPr/>
    </dgm:pt>
    <dgm:pt modelId="{DA5220FB-8E4F-496D-BC40-BCF964AB55F9}" type="pres">
      <dgm:prSet presAssocID="{7786389F-4B0C-442C-85A5-2AF7EFCE510E}" presName="LevelTwoTextNode" presStyleLbl="node3" presStyleIdx="1" presStyleCnt="7">
        <dgm:presLayoutVars>
          <dgm:chPref val="3"/>
        </dgm:presLayoutVars>
      </dgm:prSet>
      <dgm:spPr/>
    </dgm:pt>
    <dgm:pt modelId="{45ED92C7-8688-41A0-9F36-5B57A71D6D30}" type="pres">
      <dgm:prSet presAssocID="{7786389F-4B0C-442C-85A5-2AF7EFCE510E}" presName="level3hierChild" presStyleCnt="0"/>
      <dgm:spPr/>
    </dgm:pt>
    <dgm:pt modelId="{E1A066DF-0EB6-4AAC-BB63-5C5C3BF486BF}" type="pres">
      <dgm:prSet presAssocID="{C5CA3E4A-1039-4046-8532-DF28254B84B8}" presName="conn2-1" presStyleLbl="parChTrans1D4" presStyleIdx="0" presStyleCnt="2"/>
      <dgm:spPr/>
    </dgm:pt>
    <dgm:pt modelId="{EF507782-983F-430F-9AD0-CD6D27DC4E43}" type="pres">
      <dgm:prSet presAssocID="{C5CA3E4A-1039-4046-8532-DF28254B84B8}" presName="connTx" presStyleLbl="parChTrans1D4" presStyleIdx="0" presStyleCnt="2"/>
      <dgm:spPr/>
    </dgm:pt>
    <dgm:pt modelId="{6AB84122-72BD-4A54-B5E4-9555634E66E1}" type="pres">
      <dgm:prSet presAssocID="{FE693CB0-626B-45CA-A924-3861892B4161}" presName="root2" presStyleCnt="0"/>
      <dgm:spPr/>
    </dgm:pt>
    <dgm:pt modelId="{EB6B8FBC-FD1D-47A4-9C50-5D7830E4AB7C}" type="pres">
      <dgm:prSet presAssocID="{FE693CB0-626B-45CA-A924-3861892B4161}" presName="LevelTwoTextNode" presStyleLbl="node4" presStyleIdx="0" presStyleCnt="2" custScaleX="201116" custScaleY="177516">
        <dgm:presLayoutVars>
          <dgm:chPref val="3"/>
        </dgm:presLayoutVars>
      </dgm:prSet>
      <dgm:spPr/>
    </dgm:pt>
    <dgm:pt modelId="{6A4A1DBE-1C2B-4AA6-83F8-7EDA0E6CDDC9}" type="pres">
      <dgm:prSet presAssocID="{FE693CB0-626B-45CA-A924-3861892B4161}" presName="level3hierChild" presStyleCnt="0"/>
      <dgm:spPr/>
    </dgm:pt>
    <dgm:pt modelId="{3CB4771E-5379-430C-84BA-471604991330}" type="pres">
      <dgm:prSet presAssocID="{4B9E2C0C-006F-4654-81CA-5FCA635517F5}" presName="conn2-1" presStyleLbl="parChTrans1D3" presStyleIdx="2" presStyleCnt="7"/>
      <dgm:spPr/>
    </dgm:pt>
    <dgm:pt modelId="{962426C1-5EF1-41B3-B511-15777E769D43}" type="pres">
      <dgm:prSet presAssocID="{4B9E2C0C-006F-4654-81CA-5FCA635517F5}" presName="connTx" presStyleLbl="parChTrans1D3" presStyleIdx="2" presStyleCnt="7"/>
      <dgm:spPr/>
    </dgm:pt>
    <dgm:pt modelId="{E7ED1BBD-7A15-4AE8-9FB5-59CA28139754}" type="pres">
      <dgm:prSet presAssocID="{F32E8124-9CF3-4597-BB05-AE652E93DBDE}" presName="root2" presStyleCnt="0"/>
      <dgm:spPr/>
    </dgm:pt>
    <dgm:pt modelId="{FCF1A4B9-F1AE-4A2D-9385-41C00FFBCB3C}" type="pres">
      <dgm:prSet presAssocID="{F32E8124-9CF3-4597-BB05-AE652E93DBDE}" presName="LevelTwoTextNode" presStyleLbl="node3" presStyleIdx="2" presStyleCnt="7">
        <dgm:presLayoutVars>
          <dgm:chPref val="3"/>
        </dgm:presLayoutVars>
      </dgm:prSet>
      <dgm:spPr/>
    </dgm:pt>
    <dgm:pt modelId="{66C74ADC-69C5-4138-88CB-45E3A39CDDCC}" type="pres">
      <dgm:prSet presAssocID="{F32E8124-9CF3-4597-BB05-AE652E93DBDE}" presName="level3hierChild" presStyleCnt="0"/>
      <dgm:spPr/>
    </dgm:pt>
    <dgm:pt modelId="{123517D4-D63B-4D8C-BDB8-DAF5BF91BE4C}" type="pres">
      <dgm:prSet presAssocID="{0B33400F-190F-495B-8DF1-B08E8D2BC7D8}" presName="conn2-1" presStyleLbl="parChTrans1D2" presStyleIdx="1" presStyleCnt="3"/>
      <dgm:spPr/>
    </dgm:pt>
    <dgm:pt modelId="{B3CBB8D9-1EC7-4D54-B126-AF412A87933B}" type="pres">
      <dgm:prSet presAssocID="{0B33400F-190F-495B-8DF1-B08E8D2BC7D8}" presName="connTx" presStyleLbl="parChTrans1D2" presStyleIdx="1" presStyleCnt="3"/>
      <dgm:spPr/>
    </dgm:pt>
    <dgm:pt modelId="{A69198C3-0168-45B4-B9E7-11A45FF90E5B}" type="pres">
      <dgm:prSet presAssocID="{484B2EB4-86F2-4AA8-9A30-475AE4713BC9}" presName="root2" presStyleCnt="0"/>
      <dgm:spPr/>
    </dgm:pt>
    <dgm:pt modelId="{BA47E97B-73A1-45C6-BE04-AE8F3070E79C}" type="pres">
      <dgm:prSet presAssocID="{484B2EB4-86F2-4AA8-9A30-475AE4713BC9}" presName="LevelTwoTextNode" presStyleLbl="node2" presStyleIdx="1" presStyleCnt="3">
        <dgm:presLayoutVars>
          <dgm:chPref val="3"/>
        </dgm:presLayoutVars>
      </dgm:prSet>
      <dgm:spPr/>
    </dgm:pt>
    <dgm:pt modelId="{849038A2-4CBB-4D7C-A111-7DB2928B6453}" type="pres">
      <dgm:prSet presAssocID="{484B2EB4-86F2-4AA8-9A30-475AE4713BC9}" presName="level3hierChild" presStyleCnt="0"/>
      <dgm:spPr/>
    </dgm:pt>
    <dgm:pt modelId="{44BF53D2-1254-400F-9916-97B2B4BEC4BF}" type="pres">
      <dgm:prSet presAssocID="{9AB7E38E-E2E2-4645-8862-F5835A5F3579}" presName="conn2-1" presStyleLbl="parChTrans1D3" presStyleIdx="3" presStyleCnt="7"/>
      <dgm:spPr/>
    </dgm:pt>
    <dgm:pt modelId="{3B08FAA4-F741-4CF6-9F83-3377DD5E5E71}" type="pres">
      <dgm:prSet presAssocID="{9AB7E38E-E2E2-4645-8862-F5835A5F3579}" presName="connTx" presStyleLbl="parChTrans1D3" presStyleIdx="3" presStyleCnt="7"/>
      <dgm:spPr/>
    </dgm:pt>
    <dgm:pt modelId="{161D56DA-EB0C-4903-9687-211EDFA0D2E5}" type="pres">
      <dgm:prSet presAssocID="{206DEEAC-C75F-4BBD-B20D-ED3F08F26FC5}" presName="root2" presStyleCnt="0"/>
      <dgm:spPr/>
    </dgm:pt>
    <dgm:pt modelId="{1F028F90-419F-4CEE-9E8E-315326816DB1}" type="pres">
      <dgm:prSet presAssocID="{206DEEAC-C75F-4BBD-B20D-ED3F08F26FC5}" presName="LevelTwoTextNode" presStyleLbl="node3" presStyleIdx="3" presStyleCnt="7">
        <dgm:presLayoutVars>
          <dgm:chPref val="3"/>
        </dgm:presLayoutVars>
      </dgm:prSet>
      <dgm:spPr/>
    </dgm:pt>
    <dgm:pt modelId="{0A92E38A-C18E-4286-8791-5772AA007B9A}" type="pres">
      <dgm:prSet presAssocID="{206DEEAC-C75F-4BBD-B20D-ED3F08F26FC5}" presName="level3hierChild" presStyleCnt="0"/>
      <dgm:spPr/>
    </dgm:pt>
    <dgm:pt modelId="{1E3808DB-04B5-4AFD-B429-E33C19BED5B4}" type="pres">
      <dgm:prSet presAssocID="{599491CD-C938-4E62-8A30-87555E7F78C8}" presName="conn2-1" presStyleLbl="parChTrans1D3" presStyleIdx="4" presStyleCnt="7"/>
      <dgm:spPr/>
    </dgm:pt>
    <dgm:pt modelId="{BBC15A52-CF61-4C7C-8CF1-EF42C79AC6EF}" type="pres">
      <dgm:prSet presAssocID="{599491CD-C938-4E62-8A30-87555E7F78C8}" presName="connTx" presStyleLbl="parChTrans1D3" presStyleIdx="4" presStyleCnt="7"/>
      <dgm:spPr/>
    </dgm:pt>
    <dgm:pt modelId="{8C279D34-9B8C-4153-B655-5457F839324A}" type="pres">
      <dgm:prSet presAssocID="{D17CB6CD-0DAF-4AFC-B088-BD9DA39CADFB}" presName="root2" presStyleCnt="0"/>
      <dgm:spPr/>
    </dgm:pt>
    <dgm:pt modelId="{5E9760B2-E2CF-4D51-AC1B-D5B8D704AC21}" type="pres">
      <dgm:prSet presAssocID="{D17CB6CD-0DAF-4AFC-B088-BD9DA39CADFB}" presName="LevelTwoTextNode" presStyleLbl="node3" presStyleIdx="4" presStyleCnt="7">
        <dgm:presLayoutVars>
          <dgm:chPref val="3"/>
        </dgm:presLayoutVars>
      </dgm:prSet>
      <dgm:spPr/>
    </dgm:pt>
    <dgm:pt modelId="{9940D2F0-E266-4FB1-8436-ED2CCC5B62C5}" type="pres">
      <dgm:prSet presAssocID="{D17CB6CD-0DAF-4AFC-B088-BD9DA39CADFB}" presName="level3hierChild" presStyleCnt="0"/>
      <dgm:spPr/>
    </dgm:pt>
    <dgm:pt modelId="{73FDB859-2B33-43C4-90D7-A993D293C474}" type="pres">
      <dgm:prSet presAssocID="{CA876EE1-6265-4752-8281-6ADCA6C89862}" presName="conn2-1" presStyleLbl="parChTrans1D2" presStyleIdx="2" presStyleCnt="3"/>
      <dgm:spPr/>
    </dgm:pt>
    <dgm:pt modelId="{6C5EF8D0-56C5-4C3C-BC8C-5C4B2F3893DF}" type="pres">
      <dgm:prSet presAssocID="{CA876EE1-6265-4752-8281-6ADCA6C89862}" presName="connTx" presStyleLbl="parChTrans1D2" presStyleIdx="2" presStyleCnt="3"/>
      <dgm:spPr/>
    </dgm:pt>
    <dgm:pt modelId="{8EA81923-F13D-4BE0-9907-DF4AA98A8222}" type="pres">
      <dgm:prSet presAssocID="{CD3558BF-93B8-4E0E-9F06-D6638B42BA25}" presName="root2" presStyleCnt="0"/>
      <dgm:spPr/>
    </dgm:pt>
    <dgm:pt modelId="{70815C2A-177C-4DFE-A2F0-A5B4ECE790E4}" type="pres">
      <dgm:prSet presAssocID="{CD3558BF-93B8-4E0E-9F06-D6638B42BA25}" presName="LevelTwoTextNode" presStyleLbl="node2" presStyleIdx="2" presStyleCnt="3" custScaleY="154947">
        <dgm:presLayoutVars>
          <dgm:chPref val="3"/>
        </dgm:presLayoutVars>
      </dgm:prSet>
      <dgm:spPr/>
    </dgm:pt>
    <dgm:pt modelId="{3383A2AA-46D4-4E11-BA46-B4702157CD1A}" type="pres">
      <dgm:prSet presAssocID="{CD3558BF-93B8-4E0E-9F06-D6638B42BA25}" presName="level3hierChild" presStyleCnt="0"/>
      <dgm:spPr/>
    </dgm:pt>
    <dgm:pt modelId="{6CDCFBEC-F44C-4309-9582-B72C00083829}" type="pres">
      <dgm:prSet presAssocID="{C8606509-1AB0-42FF-8120-45504DED762E}" presName="conn2-1" presStyleLbl="parChTrans1D3" presStyleIdx="5" presStyleCnt="7"/>
      <dgm:spPr/>
    </dgm:pt>
    <dgm:pt modelId="{D3E07340-FF7D-4412-929E-4B4BC81B4244}" type="pres">
      <dgm:prSet presAssocID="{C8606509-1AB0-42FF-8120-45504DED762E}" presName="connTx" presStyleLbl="parChTrans1D3" presStyleIdx="5" presStyleCnt="7"/>
      <dgm:spPr/>
    </dgm:pt>
    <dgm:pt modelId="{6E9368CE-9807-448B-98D7-E14380AC9491}" type="pres">
      <dgm:prSet presAssocID="{51492099-7F4C-4BDC-8222-3F07A4FE8306}" presName="root2" presStyleCnt="0"/>
      <dgm:spPr/>
    </dgm:pt>
    <dgm:pt modelId="{1C0C0F71-F2BA-4E4E-BEE9-BC0F62246BA8}" type="pres">
      <dgm:prSet presAssocID="{51492099-7F4C-4BDC-8222-3F07A4FE8306}" presName="LevelTwoTextNode" presStyleLbl="node3" presStyleIdx="5" presStyleCnt="7" custScaleX="127757">
        <dgm:presLayoutVars>
          <dgm:chPref val="3"/>
        </dgm:presLayoutVars>
      </dgm:prSet>
      <dgm:spPr/>
    </dgm:pt>
    <dgm:pt modelId="{C61D5EE5-2C4A-4CB4-B259-61AD29E5F96F}" type="pres">
      <dgm:prSet presAssocID="{51492099-7F4C-4BDC-8222-3F07A4FE8306}" presName="level3hierChild" presStyleCnt="0"/>
      <dgm:spPr/>
    </dgm:pt>
    <dgm:pt modelId="{60F41317-B0B5-4B2C-ADAF-A4C1E474CD79}" type="pres">
      <dgm:prSet presAssocID="{2DCBFACF-4BB5-449F-A2CA-90569BB10FF0}" presName="conn2-1" presStyleLbl="parChTrans1D3" presStyleIdx="6" presStyleCnt="7"/>
      <dgm:spPr/>
    </dgm:pt>
    <dgm:pt modelId="{BC4C0A73-A08A-41AF-9B8D-7575E6AAD8AE}" type="pres">
      <dgm:prSet presAssocID="{2DCBFACF-4BB5-449F-A2CA-90569BB10FF0}" presName="connTx" presStyleLbl="parChTrans1D3" presStyleIdx="6" presStyleCnt="7"/>
      <dgm:spPr/>
    </dgm:pt>
    <dgm:pt modelId="{0A2454F3-3061-4DFF-BC72-B111121AF0FF}" type="pres">
      <dgm:prSet presAssocID="{B2DC924A-CE21-4910-AE93-4B6B98605D75}" presName="root2" presStyleCnt="0"/>
      <dgm:spPr/>
    </dgm:pt>
    <dgm:pt modelId="{382CAEC3-2E1C-4E8D-AAF8-359529BF89AE}" type="pres">
      <dgm:prSet presAssocID="{B2DC924A-CE21-4910-AE93-4B6B98605D75}" presName="LevelTwoTextNode" presStyleLbl="node3" presStyleIdx="6" presStyleCnt="7" custScaleX="127757">
        <dgm:presLayoutVars>
          <dgm:chPref val="3"/>
        </dgm:presLayoutVars>
      </dgm:prSet>
      <dgm:spPr/>
    </dgm:pt>
    <dgm:pt modelId="{67682052-C077-47BE-8C36-F4676649FCDE}" type="pres">
      <dgm:prSet presAssocID="{B2DC924A-CE21-4910-AE93-4B6B98605D75}" presName="level3hierChild" presStyleCnt="0"/>
      <dgm:spPr/>
    </dgm:pt>
    <dgm:pt modelId="{E8E88B6A-E8C8-447B-A120-ABEB243ADEDC}" type="pres">
      <dgm:prSet presAssocID="{9488DF7B-E3F4-4857-BAA3-2AB36C81F8CD}" presName="conn2-1" presStyleLbl="parChTrans1D4" presStyleIdx="1" presStyleCnt="2"/>
      <dgm:spPr/>
    </dgm:pt>
    <dgm:pt modelId="{964880C0-1AB2-4365-BB70-7CE1CDE37616}" type="pres">
      <dgm:prSet presAssocID="{9488DF7B-E3F4-4857-BAA3-2AB36C81F8CD}" presName="connTx" presStyleLbl="parChTrans1D4" presStyleIdx="1" presStyleCnt="2"/>
      <dgm:spPr/>
    </dgm:pt>
    <dgm:pt modelId="{2254BDFE-5FDB-479A-A0B6-F1F10B821314}" type="pres">
      <dgm:prSet presAssocID="{FCFE0C13-6EC7-4F18-BAF7-5D6029ED6B07}" presName="root2" presStyleCnt="0"/>
      <dgm:spPr/>
    </dgm:pt>
    <dgm:pt modelId="{74A98660-31F9-4DCA-8A0E-4D15B283CF98}" type="pres">
      <dgm:prSet presAssocID="{FCFE0C13-6EC7-4F18-BAF7-5D6029ED6B07}" presName="LevelTwoTextNode" presStyleLbl="node4" presStyleIdx="1" presStyleCnt="2" custScaleX="155456">
        <dgm:presLayoutVars>
          <dgm:chPref val="3"/>
        </dgm:presLayoutVars>
      </dgm:prSet>
      <dgm:spPr/>
    </dgm:pt>
    <dgm:pt modelId="{4CCAB44B-1FB8-4E22-BFBC-47C6352642F0}" type="pres">
      <dgm:prSet presAssocID="{FCFE0C13-6EC7-4F18-BAF7-5D6029ED6B07}" presName="level3hierChild" presStyleCnt="0"/>
      <dgm:spPr/>
    </dgm:pt>
  </dgm:ptLst>
  <dgm:cxnLst>
    <dgm:cxn modelId="{7FDE3F03-951F-432F-B40D-55B907A1785D}" type="presOf" srcId="{4B9E2C0C-006F-4654-81CA-5FCA635517F5}" destId="{3CB4771E-5379-430C-84BA-471604991330}" srcOrd="0" destOrd="0" presId="urn:microsoft.com/office/officeart/2008/layout/HorizontalMultiLevelHierarchy"/>
    <dgm:cxn modelId="{05147109-C439-460A-B164-4DF140243EF5}" type="presOf" srcId="{63C28EA4-28C0-4938-BBFE-90FCABE24F41}" destId="{9A267720-399B-4975-95B3-153606297D9F}" srcOrd="0" destOrd="0" presId="urn:microsoft.com/office/officeart/2008/layout/HorizontalMultiLevelHierarchy"/>
    <dgm:cxn modelId="{B4C6E40D-29BC-4A83-A278-ACD27DC8F0F1}" type="presOf" srcId="{D17CB6CD-0DAF-4AFC-B088-BD9DA39CADFB}" destId="{5E9760B2-E2CF-4D51-AC1B-D5B8D704AC21}" srcOrd="0" destOrd="0" presId="urn:microsoft.com/office/officeart/2008/layout/HorizontalMultiLevelHierarchy"/>
    <dgm:cxn modelId="{53424611-59E6-4B09-B509-1537345C24FA}" type="presOf" srcId="{9AB7E38E-E2E2-4645-8862-F5835A5F3579}" destId="{44BF53D2-1254-400F-9916-97B2B4BEC4BF}" srcOrd="0" destOrd="0" presId="urn:microsoft.com/office/officeart/2008/layout/HorizontalMultiLevelHierarchy"/>
    <dgm:cxn modelId="{FC7CE716-1D11-4702-B2EA-FC6CBC1123E5}" type="presOf" srcId="{2DCBFACF-4BB5-449F-A2CA-90569BB10FF0}" destId="{BC4C0A73-A08A-41AF-9B8D-7575E6AAD8AE}" srcOrd="1" destOrd="0" presId="urn:microsoft.com/office/officeart/2008/layout/HorizontalMultiLevelHierarchy"/>
    <dgm:cxn modelId="{912EB61A-7A9C-4CCC-8505-0272633123B2}" srcId="{CD3558BF-93B8-4E0E-9F06-D6638B42BA25}" destId="{51492099-7F4C-4BDC-8222-3F07A4FE8306}" srcOrd="0" destOrd="0" parTransId="{C8606509-1AB0-42FF-8120-45504DED762E}" sibTransId="{C40D0968-D083-4F26-906D-6FA5DD2DA4A3}"/>
    <dgm:cxn modelId="{A9443C23-A491-4729-A1F9-7D7C31EDCDFB}" type="presOf" srcId="{599491CD-C938-4E62-8A30-87555E7F78C8}" destId="{BBC15A52-CF61-4C7C-8CF1-EF42C79AC6EF}" srcOrd="1" destOrd="0" presId="urn:microsoft.com/office/officeart/2008/layout/HorizontalMultiLevelHierarchy"/>
    <dgm:cxn modelId="{E7CE9224-D64E-4C17-BD48-06D55FA298BF}" type="presOf" srcId="{9AB7E38E-E2E2-4645-8862-F5835A5F3579}" destId="{3B08FAA4-F741-4CF6-9F83-3377DD5E5E71}" srcOrd="1" destOrd="0" presId="urn:microsoft.com/office/officeart/2008/layout/HorizontalMultiLevelHierarchy"/>
    <dgm:cxn modelId="{B065C82C-B45C-47C5-9054-03A72DD90C75}" type="presOf" srcId="{CA876EE1-6265-4752-8281-6ADCA6C89862}" destId="{6C5EF8D0-56C5-4C3C-BC8C-5C4B2F3893DF}" srcOrd="1" destOrd="0" presId="urn:microsoft.com/office/officeart/2008/layout/HorizontalMultiLevelHierarchy"/>
    <dgm:cxn modelId="{74F6F532-E1DF-42D1-B7E2-405F10446EFD}" type="presOf" srcId="{599491CD-C938-4E62-8A30-87555E7F78C8}" destId="{1E3808DB-04B5-4AFD-B429-E33C19BED5B4}" srcOrd="0" destOrd="0" presId="urn:microsoft.com/office/officeart/2008/layout/HorizontalMultiLevelHierarchy"/>
    <dgm:cxn modelId="{C0853A34-29E1-48C1-BCAD-BEA6328FB456}" srcId="{1D5F2490-3EC6-4523-AB04-E2372950104F}" destId="{F32E8124-9CF3-4597-BB05-AE652E93DBDE}" srcOrd="2" destOrd="0" parTransId="{4B9E2C0C-006F-4654-81CA-5FCA635517F5}" sibTransId="{1F14B8A0-1564-4A2B-BDF5-E265AA050326}"/>
    <dgm:cxn modelId="{08189E34-018A-47B8-AEA5-292A317F63DF}" type="presOf" srcId="{CD3558BF-93B8-4E0E-9F06-D6638B42BA25}" destId="{70815C2A-177C-4DFE-A2F0-A5B4ECE790E4}" srcOrd="0" destOrd="0" presId="urn:microsoft.com/office/officeart/2008/layout/HorizontalMultiLevelHierarchy"/>
    <dgm:cxn modelId="{BA5F7C35-A3B6-4017-8A6F-5ED9FB434E5C}" type="presOf" srcId="{2DCBFACF-4BB5-449F-A2CA-90569BB10FF0}" destId="{60F41317-B0B5-4B2C-ADAF-A4C1E474CD79}" srcOrd="0" destOrd="0" presId="urn:microsoft.com/office/officeart/2008/layout/HorizontalMultiLevelHierarchy"/>
    <dgm:cxn modelId="{817C1E3E-7E93-408C-BA47-00E0CE233D91}" type="presOf" srcId="{C8606509-1AB0-42FF-8120-45504DED762E}" destId="{6CDCFBEC-F44C-4309-9582-B72C00083829}" srcOrd="0" destOrd="0" presId="urn:microsoft.com/office/officeart/2008/layout/HorizontalMultiLevelHierarchy"/>
    <dgm:cxn modelId="{1AC5353F-3AB7-4A84-95C7-66223CE97A4C}" type="presOf" srcId="{9488DF7B-E3F4-4857-BAA3-2AB36C81F8CD}" destId="{964880C0-1AB2-4365-BB70-7CE1CDE37616}" srcOrd="1" destOrd="0" presId="urn:microsoft.com/office/officeart/2008/layout/HorizontalMultiLevelHierarchy"/>
    <dgm:cxn modelId="{B27FAE40-DFF5-4112-B490-77D117859B51}" srcId="{B2DC924A-CE21-4910-AE93-4B6B98605D75}" destId="{FCFE0C13-6EC7-4F18-BAF7-5D6029ED6B07}" srcOrd="0" destOrd="0" parTransId="{9488DF7B-E3F4-4857-BAA3-2AB36C81F8CD}" sibTransId="{5C7D087A-FF61-4A44-B311-D93EC330E069}"/>
    <dgm:cxn modelId="{A0CDCD5F-DDAC-4B36-85EE-7C1BC1837AF7}" srcId="{6FA16986-560A-437E-8974-D6FF36C0DF28}" destId="{1D5F2490-3EC6-4523-AB04-E2372950104F}" srcOrd="0" destOrd="0" parTransId="{763E3997-12E6-4AB4-95DE-40299B38CBDF}" sibTransId="{4ED94E7D-255F-454B-BECA-B466A2339E3C}"/>
    <dgm:cxn modelId="{3D40DF60-9462-45DA-BAB1-B7D15AD0C200}" type="presOf" srcId="{0B33400F-190F-495B-8DF1-B08E8D2BC7D8}" destId="{123517D4-D63B-4D8C-BDB8-DAF5BF91BE4C}" srcOrd="0" destOrd="0" presId="urn:microsoft.com/office/officeart/2008/layout/HorizontalMultiLevelHierarchy"/>
    <dgm:cxn modelId="{2B8C4264-C0D6-44C0-8E18-E8C72E4777D9}" type="presOf" srcId="{FE693CB0-626B-45CA-A924-3861892B4161}" destId="{EB6B8FBC-FD1D-47A4-9C50-5D7830E4AB7C}" srcOrd="0" destOrd="0" presId="urn:microsoft.com/office/officeart/2008/layout/HorizontalMultiLevelHierarchy"/>
    <dgm:cxn modelId="{57978F64-3B7C-4F0D-878A-72E3D1C1F133}" type="presOf" srcId="{CDA0401B-7818-49C6-AB4D-6EB8FD14C781}" destId="{7BCA4770-B7F5-4997-B41C-AA19CB836312}" srcOrd="1" destOrd="0" presId="urn:microsoft.com/office/officeart/2008/layout/HorizontalMultiLevelHierarchy"/>
    <dgm:cxn modelId="{B18C7E67-1595-466B-AE7A-7C68AB63A230}" srcId="{1D5F2490-3EC6-4523-AB04-E2372950104F}" destId="{EC02711C-11FE-45BA-AC82-5F75F69FA6CD}" srcOrd="0" destOrd="0" parTransId="{63C28EA4-28C0-4938-BBFE-90FCABE24F41}" sibTransId="{012A1100-D88A-4111-8C88-0DC5556DE533}"/>
    <dgm:cxn modelId="{04601A4C-9F40-4725-A0AE-6A792E007F6F}" srcId="{7786389F-4B0C-442C-85A5-2AF7EFCE510E}" destId="{FE693CB0-626B-45CA-A924-3861892B4161}" srcOrd="0" destOrd="0" parTransId="{C5CA3E4A-1039-4046-8532-DF28254B84B8}" sibTransId="{1C4FA6E5-555C-4660-80B1-FCDAD28CBE6A}"/>
    <dgm:cxn modelId="{8DE27B4C-D77D-4DA3-AE3A-8F1138B1C42A}" srcId="{5801DDE2-A42E-4BA8-91A5-0E067C994F63}" destId="{6FA16986-560A-437E-8974-D6FF36C0DF28}" srcOrd="0" destOrd="0" parTransId="{86B6C37A-9D8D-4336-9BEF-B94ACD1419B2}" sibTransId="{D4E73E94-85F6-4919-B44B-E7917412E6F1}"/>
    <dgm:cxn modelId="{2066BF50-7BA4-4A17-9144-BCE4B254FE79}" type="presOf" srcId="{6FA16986-560A-437E-8974-D6FF36C0DF28}" destId="{A1C70032-1CFC-400C-A010-3177820BD1C3}" srcOrd="0" destOrd="0" presId="urn:microsoft.com/office/officeart/2008/layout/HorizontalMultiLevelHierarchy"/>
    <dgm:cxn modelId="{0E812356-BBEA-4972-BBC8-181477DA53E5}" type="presOf" srcId="{51492099-7F4C-4BDC-8222-3F07A4FE8306}" destId="{1C0C0F71-F2BA-4E4E-BEE9-BC0F62246BA8}" srcOrd="0" destOrd="0" presId="urn:microsoft.com/office/officeart/2008/layout/HorizontalMultiLevelHierarchy"/>
    <dgm:cxn modelId="{B58FB078-B08A-4F1E-950D-3A25842E075C}" type="presOf" srcId="{5801DDE2-A42E-4BA8-91A5-0E067C994F63}" destId="{63E5AFD9-B084-495A-BF61-15A125958187}" srcOrd="0" destOrd="0" presId="urn:microsoft.com/office/officeart/2008/layout/HorizontalMultiLevelHierarchy"/>
    <dgm:cxn modelId="{10CAF17D-9518-47FA-8468-269DCE7F82FC}" type="presOf" srcId="{C5CA3E4A-1039-4046-8532-DF28254B84B8}" destId="{EF507782-983F-430F-9AD0-CD6D27DC4E43}" srcOrd="1" destOrd="0" presId="urn:microsoft.com/office/officeart/2008/layout/HorizontalMultiLevelHierarchy"/>
    <dgm:cxn modelId="{BFF5CD87-03C9-451B-9BC5-58CC9D4D9EB6}" type="presOf" srcId="{B2DC924A-CE21-4910-AE93-4B6B98605D75}" destId="{382CAEC3-2E1C-4E8D-AAF8-359529BF89AE}" srcOrd="0" destOrd="0" presId="urn:microsoft.com/office/officeart/2008/layout/HorizontalMultiLevelHierarchy"/>
    <dgm:cxn modelId="{9FD85A8A-D8D8-479F-94BF-3D7675C1FDD7}" type="presOf" srcId="{763E3997-12E6-4AB4-95DE-40299B38CBDF}" destId="{82F3627D-A3AF-4C7A-8221-284CCEF5310D}" srcOrd="0" destOrd="0" presId="urn:microsoft.com/office/officeart/2008/layout/HorizontalMultiLevelHierarchy"/>
    <dgm:cxn modelId="{BD09378E-4638-4FFB-928F-54BBF1BFCD4C}" type="presOf" srcId="{63C28EA4-28C0-4938-BBFE-90FCABE24F41}" destId="{0D7BB496-3732-40D0-A2FA-2B968EE65F07}" srcOrd="1" destOrd="0" presId="urn:microsoft.com/office/officeart/2008/layout/HorizontalMultiLevelHierarchy"/>
    <dgm:cxn modelId="{002A8F90-CD21-4232-B58A-44679F1B69AF}" type="presOf" srcId="{484B2EB4-86F2-4AA8-9A30-475AE4713BC9}" destId="{BA47E97B-73A1-45C6-BE04-AE8F3070E79C}" srcOrd="0" destOrd="0" presId="urn:microsoft.com/office/officeart/2008/layout/HorizontalMultiLevelHierarchy"/>
    <dgm:cxn modelId="{1A182B93-6F24-4553-A9A3-B6E12B8ACB2D}" type="presOf" srcId="{EC02711C-11FE-45BA-AC82-5F75F69FA6CD}" destId="{5636877C-069D-4F6E-8906-0049408F7F60}" srcOrd="0" destOrd="0" presId="urn:microsoft.com/office/officeart/2008/layout/HorizontalMultiLevelHierarchy"/>
    <dgm:cxn modelId="{50C06E93-0855-4745-B23A-996D2A892C67}" srcId="{6FA16986-560A-437E-8974-D6FF36C0DF28}" destId="{484B2EB4-86F2-4AA8-9A30-475AE4713BC9}" srcOrd="1" destOrd="0" parTransId="{0B33400F-190F-495B-8DF1-B08E8D2BC7D8}" sibTransId="{14B6D2E3-3C1F-4D4A-81E5-E9BB021A76E2}"/>
    <dgm:cxn modelId="{E5A9B194-0C97-4B8F-B86F-3279562D39BD}" type="presOf" srcId="{FCFE0C13-6EC7-4F18-BAF7-5D6029ED6B07}" destId="{74A98660-31F9-4DCA-8A0E-4D15B283CF98}" srcOrd="0" destOrd="0" presId="urn:microsoft.com/office/officeart/2008/layout/HorizontalMultiLevelHierarchy"/>
    <dgm:cxn modelId="{DC3E0695-57FB-4EDF-A3C7-BF4184A3A64C}" type="presOf" srcId="{C8606509-1AB0-42FF-8120-45504DED762E}" destId="{D3E07340-FF7D-4412-929E-4B4BC81B4244}" srcOrd="1" destOrd="0" presId="urn:microsoft.com/office/officeart/2008/layout/HorizontalMultiLevelHierarchy"/>
    <dgm:cxn modelId="{91412896-5592-462C-9537-7FAC6019255B}" type="presOf" srcId="{4B9E2C0C-006F-4654-81CA-5FCA635517F5}" destId="{962426C1-5EF1-41B3-B511-15777E769D43}" srcOrd="1" destOrd="0" presId="urn:microsoft.com/office/officeart/2008/layout/HorizontalMultiLevelHierarchy"/>
    <dgm:cxn modelId="{667A3398-AA69-4CB4-9D77-A13EDD11DC25}" type="presOf" srcId="{CA876EE1-6265-4752-8281-6ADCA6C89862}" destId="{73FDB859-2B33-43C4-90D7-A993D293C474}" srcOrd="0" destOrd="0" presId="urn:microsoft.com/office/officeart/2008/layout/HorizontalMultiLevelHierarchy"/>
    <dgm:cxn modelId="{EB8E0C9C-2859-4357-B7DB-09EADF00945D}" type="presOf" srcId="{7786389F-4B0C-442C-85A5-2AF7EFCE510E}" destId="{DA5220FB-8E4F-496D-BC40-BCF964AB55F9}" srcOrd="0" destOrd="0" presId="urn:microsoft.com/office/officeart/2008/layout/HorizontalMultiLevelHierarchy"/>
    <dgm:cxn modelId="{A15176A3-778D-4EC4-A084-F976CEC63285}" srcId="{1D5F2490-3EC6-4523-AB04-E2372950104F}" destId="{7786389F-4B0C-442C-85A5-2AF7EFCE510E}" srcOrd="1" destOrd="0" parTransId="{CDA0401B-7818-49C6-AB4D-6EB8FD14C781}" sibTransId="{8405A0C3-417E-48B2-AD48-734F0B52751B}"/>
    <dgm:cxn modelId="{5A7062A6-23D8-4E10-AA95-51BAB4F30357}" type="presOf" srcId="{CDA0401B-7818-49C6-AB4D-6EB8FD14C781}" destId="{0939B604-B9EA-4896-AC3E-21F6666988A7}" srcOrd="0" destOrd="0" presId="urn:microsoft.com/office/officeart/2008/layout/HorizontalMultiLevelHierarchy"/>
    <dgm:cxn modelId="{6B76FEAB-D73F-4F76-8B3A-DCCBA95AC10F}" type="presOf" srcId="{C5CA3E4A-1039-4046-8532-DF28254B84B8}" destId="{E1A066DF-0EB6-4AAC-BB63-5C5C3BF486BF}" srcOrd="0" destOrd="0" presId="urn:microsoft.com/office/officeart/2008/layout/HorizontalMultiLevelHierarchy"/>
    <dgm:cxn modelId="{628800AF-7DA2-4E22-9762-CD7D2A7E5437}" type="presOf" srcId="{1D5F2490-3EC6-4523-AB04-E2372950104F}" destId="{8D8F26BC-DE82-41CA-BAB2-F26FA9CA9F86}" srcOrd="0" destOrd="0" presId="urn:microsoft.com/office/officeart/2008/layout/HorizontalMultiLevelHierarchy"/>
    <dgm:cxn modelId="{5980B4B1-EB6B-4254-B6C6-720F66F4D057}" srcId="{CD3558BF-93B8-4E0E-9F06-D6638B42BA25}" destId="{B2DC924A-CE21-4910-AE93-4B6B98605D75}" srcOrd="1" destOrd="0" parTransId="{2DCBFACF-4BB5-449F-A2CA-90569BB10FF0}" sibTransId="{C19BBBFE-2F90-4467-83D3-90015AC09505}"/>
    <dgm:cxn modelId="{C7C365BD-3398-4738-B7EC-75F8DBD2D7BE}" type="presOf" srcId="{F32E8124-9CF3-4597-BB05-AE652E93DBDE}" destId="{FCF1A4B9-F1AE-4A2D-9385-41C00FFBCB3C}" srcOrd="0" destOrd="0" presId="urn:microsoft.com/office/officeart/2008/layout/HorizontalMultiLevelHierarchy"/>
    <dgm:cxn modelId="{30D396C4-F8BE-4BA5-AA5F-6D529C4056F4}" srcId="{484B2EB4-86F2-4AA8-9A30-475AE4713BC9}" destId="{206DEEAC-C75F-4BBD-B20D-ED3F08F26FC5}" srcOrd="0" destOrd="0" parTransId="{9AB7E38E-E2E2-4645-8862-F5835A5F3579}" sibTransId="{B9FD5C00-158D-4978-92E6-C591A2F6C19D}"/>
    <dgm:cxn modelId="{72FABFC9-FE4D-4BB0-AB07-79A3CD1ADDA4}" type="presOf" srcId="{206DEEAC-C75F-4BBD-B20D-ED3F08F26FC5}" destId="{1F028F90-419F-4CEE-9E8E-315326816DB1}" srcOrd="0" destOrd="0" presId="urn:microsoft.com/office/officeart/2008/layout/HorizontalMultiLevelHierarchy"/>
    <dgm:cxn modelId="{662B2BCF-2B3F-4F90-81FF-35A38AB713BE}" srcId="{484B2EB4-86F2-4AA8-9A30-475AE4713BC9}" destId="{D17CB6CD-0DAF-4AFC-B088-BD9DA39CADFB}" srcOrd="1" destOrd="0" parTransId="{599491CD-C938-4E62-8A30-87555E7F78C8}" sibTransId="{B3335110-1CF7-41D9-9AA1-52EF040128DF}"/>
    <dgm:cxn modelId="{B19F32CF-0125-4370-B28D-5E91F0A334E6}" type="presOf" srcId="{763E3997-12E6-4AB4-95DE-40299B38CBDF}" destId="{17DBFC85-EA89-47C2-8761-FEE7486E72C0}" srcOrd="1" destOrd="0" presId="urn:microsoft.com/office/officeart/2008/layout/HorizontalMultiLevelHierarchy"/>
    <dgm:cxn modelId="{42701ED6-A28A-43D7-8C09-E2EE7383971E}" srcId="{6FA16986-560A-437E-8974-D6FF36C0DF28}" destId="{CD3558BF-93B8-4E0E-9F06-D6638B42BA25}" srcOrd="2" destOrd="0" parTransId="{CA876EE1-6265-4752-8281-6ADCA6C89862}" sibTransId="{18E46EC8-D832-40B1-A3B9-BA6CAE1189A2}"/>
    <dgm:cxn modelId="{FAD715D8-AD7A-4242-9FB5-36450DB265D7}" type="presOf" srcId="{0B33400F-190F-495B-8DF1-B08E8D2BC7D8}" destId="{B3CBB8D9-1EC7-4D54-B126-AF412A87933B}" srcOrd="1" destOrd="0" presId="urn:microsoft.com/office/officeart/2008/layout/HorizontalMultiLevelHierarchy"/>
    <dgm:cxn modelId="{7C49F8FC-2B2F-4486-9579-62A52481F680}" type="presOf" srcId="{9488DF7B-E3F4-4857-BAA3-2AB36C81F8CD}" destId="{E8E88B6A-E8C8-447B-A120-ABEB243ADEDC}" srcOrd="0" destOrd="0" presId="urn:microsoft.com/office/officeart/2008/layout/HorizontalMultiLevelHierarchy"/>
    <dgm:cxn modelId="{B9D39ABA-5D96-494E-9DD3-D6F11F600267}" type="presParOf" srcId="{63E5AFD9-B084-495A-BF61-15A125958187}" destId="{350C1F4C-2088-4C4E-9A64-0830F788E2BD}" srcOrd="0" destOrd="0" presId="urn:microsoft.com/office/officeart/2008/layout/HorizontalMultiLevelHierarchy"/>
    <dgm:cxn modelId="{A5DFB9FB-73EA-4B05-8A4A-1EC855F8493D}" type="presParOf" srcId="{350C1F4C-2088-4C4E-9A64-0830F788E2BD}" destId="{A1C70032-1CFC-400C-A010-3177820BD1C3}" srcOrd="0" destOrd="0" presId="urn:microsoft.com/office/officeart/2008/layout/HorizontalMultiLevelHierarchy"/>
    <dgm:cxn modelId="{7A85D797-87E7-4DA8-B5EF-4FDD682C213E}" type="presParOf" srcId="{350C1F4C-2088-4C4E-9A64-0830F788E2BD}" destId="{FB7FD716-5D96-49D4-B7AB-E4AE00CB7752}" srcOrd="1" destOrd="0" presId="urn:microsoft.com/office/officeart/2008/layout/HorizontalMultiLevelHierarchy"/>
    <dgm:cxn modelId="{40E19061-08D1-41BF-B7FE-15421142E4AA}" type="presParOf" srcId="{FB7FD716-5D96-49D4-B7AB-E4AE00CB7752}" destId="{82F3627D-A3AF-4C7A-8221-284CCEF5310D}" srcOrd="0" destOrd="0" presId="urn:microsoft.com/office/officeart/2008/layout/HorizontalMultiLevelHierarchy"/>
    <dgm:cxn modelId="{7186CB30-6AE0-4364-BEA9-1B87074488BC}" type="presParOf" srcId="{82F3627D-A3AF-4C7A-8221-284CCEF5310D}" destId="{17DBFC85-EA89-47C2-8761-FEE7486E72C0}" srcOrd="0" destOrd="0" presId="urn:microsoft.com/office/officeart/2008/layout/HorizontalMultiLevelHierarchy"/>
    <dgm:cxn modelId="{BBB0D264-D908-4C5A-B0B2-4CE29C51975B}" type="presParOf" srcId="{FB7FD716-5D96-49D4-B7AB-E4AE00CB7752}" destId="{F2033A79-99B7-4A42-957F-10F717A16D85}" srcOrd="1" destOrd="0" presId="urn:microsoft.com/office/officeart/2008/layout/HorizontalMultiLevelHierarchy"/>
    <dgm:cxn modelId="{3EB76E2C-E576-4A7C-BC3A-98734A623B99}" type="presParOf" srcId="{F2033A79-99B7-4A42-957F-10F717A16D85}" destId="{8D8F26BC-DE82-41CA-BAB2-F26FA9CA9F86}" srcOrd="0" destOrd="0" presId="urn:microsoft.com/office/officeart/2008/layout/HorizontalMultiLevelHierarchy"/>
    <dgm:cxn modelId="{39A08B8A-DEF6-4E15-8A46-48BB56F48E09}" type="presParOf" srcId="{F2033A79-99B7-4A42-957F-10F717A16D85}" destId="{323919B9-7DB7-43E6-80FF-B44F7CFB4421}" srcOrd="1" destOrd="0" presId="urn:microsoft.com/office/officeart/2008/layout/HorizontalMultiLevelHierarchy"/>
    <dgm:cxn modelId="{65FF50EE-D1E5-4856-B57C-45459E941A7C}" type="presParOf" srcId="{323919B9-7DB7-43E6-80FF-B44F7CFB4421}" destId="{9A267720-399B-4975-95B3-153606297D9F}" srcOrd="0" destOrd="0" presId="urn:microsoft.com/office/officeart/2008/layout/HorizontalMultiLevelHierarchy"/>
    <dgm:cxn modelId="{825929A6-3E7F-4526-8EC0-7952D1EC2257}" type="presParOf" srcId="{9A267720-399B-4975-95B3-153606297D9F}" destId="{0D7BB496-3732-40D0-A2FA-2B968EE65F07}" srcOrd="0" destOrd="0" presId="urn:microsoft.com/office/officeart/2008/layout/HorizontalMultiLevelHierarchy"/>
    <dgm:cxn modelId="{2FF511C2-E62E-454B-9610-5A942F88DD41}" type="presParOf" srcId="{323919B9-7DB7-43E6-80FF-B44F7CFB4421}" destId="{340CACC2-BD57-4DBC-894F-9B03FB6C7FF6}" srcOrd="1" destOrd="0" presId="urn:microsoft.com/office/officeart/2008/layout/HorizontalMultiLevelHierarchy"/>
    <dgm:cxn modelId="{1D883861-5C22-44AE-A169-FFF4903560AB}" type="presParOf" srcId="{340CACC2-BD57-4DBC-894F-9B03FB6C7FF6}" destId="{5636877C-069D-4F6E-8906-0049408F7F60}" srcOrd="0" destOrd="0" presId="urn:microsoft.com/office/officeart/2008/layout/HorizontalMultiLevelHierarchy"/>
    <dgm:cxn modelId="{ECE64150-1FF4-4453-AF3D-EAB64084ECD1}" type="presParOf" srcId="{340CACC2-BD57-4DBC-894F-9B03FB6C7FF6}" destId="{1E62C09E-7F27-4696-9693-21499782507F}" srcOrd="1" destOrd="0" presId="urn:microsoft.com/office/officeart/2008/layout/HorizontalMultiLevelHierarchy"/>
    <dgm:cxn modelId="{28381E74-B7DB-41CD-A4D5-B3ADFFAF6378}" type="presParOf" srcId="{323919B9-7DB7-43E6-80FF-B44F7CFB4421}" destId="{0939B604-B9EA-4896-AC3E-21F6666988A7}" srcOrd="2" destOrd="0" presId="urn:microsoft.com/office/officeart/2008/layout/HorizontalMultiLevelHierarchy"/>
    <dgm:cxn modelId="{62F05732-CACB-4CC4-A433-E64740584513}" type="presParOf" srcId="{0939B604-B9EA-4896-AC3E-21F6666988A7}" destId="{7BCA4770-B7F5-4997-B41C-AA19CB836312}" srcOrd="0" destOrd="0" presId="urn:microsoft.com/office/officeart/2008/layout/HorizontalMultiLevelHierarchy"/>
    <dgm:cxn modelId="{0B611239-0DD9-448B-8985-B36837FEC71F}" type="presParOf" srcId="{323919B9-7DB7-43E6-80FF-B44F7CFB4421}" destId="{40288C7F-2A54-49C2-8C4F-1973BC614710}" srcOrd="3" destOrd="0" presId="urn:microsoft.com/office/officeart/2008/layout/HorizontalMultiLevelHierarchy"/>
    <dgm:cxn modelId="{FA3B36F5-F744-479D-9962-C94BB50EE008}" type="presParOf" srcId="{40288C7F-2A54-49C2-8C4F-1973BC614710}" destId="{DA5220FB-8E4F-496D-BC40-BCF964AB55F9}" srcOrd="0" destOrd="0" presId="urn:microsoft.com/office/officeart/2008/layout/HorizontalMultiLevelHierarchy"/>
    <dgm:cxn modelId="{268D348E-A3FF-4855-A8F6-66446544394E}" type="presParOf" srcId="{40288C7F-2A54-49C2-8C4F-1973BC614710}" destId="{45ED92C7-8688-41A0-9F36-5B57A71D6D30}" srcOrd="1" destOrd="0" presId="urn:microsoft.com/office/officeart/2008/layout/HorizontalMultiLevelHierarchy"/>
    <dgm:cxn modelId="{2FE36434-3FB2-42CE-9FA7-6EDC6D918A39}" type="presParOf" srcId="{45ED92C7-8688-41A0-9F36-5B57A71D6D30}" destId="{E1A066DF-0EB6-4AAC-BB63-5C5C3BF486BF}" srcOrd="0" destOrd="0" presId="urn:microsoft.com/office/officeart/2008/layout/HorizontalMultiLevelHierarchy"/>
    <dgm:cxn modelId="{6D359A13-5A42-473A-900E-7E8F7D230CEE}" type="presParOf" srcId="{E1A066DF-0EB6-4AAC-BB63-5C5C3BF486BF}" destId="{EF507782-983F-430F-9AD0-CD6D27DC4E43}" srcOrd="0" destOrd="0" presId="urn:microsoft.com/office/officeart/2008/layout/HorizontalMultiLevelHierarchy"/>
    <dgm:cxn modelId="{1EA4F673-22CA-40B9-BCC9-70B3C33B629B}" type="presParOf" srcId="{45ED92C7-8688-41A0-9F36-5B57A71D6D30}" destId="{6AB84122-72BD-4A54-B5E4-9555634E66E1}" srcOrd="1" destOrd="0" presId="urn:microsoft.com/office/officeart/2008/layout/HorizontalMultiLevelHierarchy"/>
    <dgm:cxn modelId="{535D1459-C1D0-4336-A74A-22CBE1BDCBCE}" type="presParOf" srcId="{6AB84122-72BD-4A54-B5E4-9555634E66E1}" destId="{EB6B8FBC-FD1D-47A4-9C50-5D7830E4AB7C}" srcOrd="0" destOrd="0" presId="urn:microsoft.com/office/officeart/2008/layout/HorizontalMultiLevelHierarchy"/>
    <dgm:cxn modelId="{D402ED77-CCFC-4EA2-A107-5DCFF371B3F4}" type="presParOf" srcId="{6AB84122-72BD-4A54-B5E4-9555634E66E1}" destId="{6A4A1DBE-1C2B-4AA6-83F8-7EDA0E6CDDC9}" srcOrd="1" destOrd="0" presId="urn:microsoft.com/office/officeart/2008/layout/HorizontalMultiLevelHierarchy"/>
    <dgm:cxn modelId="{8540726A-4584-41D1-84F5-A735A8CBF321}" type="presParOf" srcId="{323919B9-7DB7-43E6-80FF-B44F7CFB4421}" destId="{3CB4771E-5379-430C-84BA-471604991330}" srcOrd="4" destOrd="0" presId="urn:microsoft.com/office/officeart/2008/layout/HorizontalMultiLevelHierarchy"/>
    <dgm:cxn modelId="{3D24D4F7-316F-4165-BD03-4654360039BB}" type="presParOf" srcId="{3CB4771E-5379-430C-84BA-471604991330}" destId="{962426C1-5EF1-41B3-B511-15777E769D43}" srcOrd="0" destOrd="0" presId="urn:microsoft.com/office/officeart/2008/layout/HorizontalMultiLevelHierarchy"/>
    <dgm:cxn modelId="{5944775F-BAFF-452A-822B-DB516FBF08BC}" type="presParOf" srcId="{323919B9-7DB7-43E6-80FF-B44F7CFB4421}" destId="{E7ED1BBD-7A15-4AE8-9FB5-59CA28139754}" srcOrd="5" destOrd="0" presId="urn:microsoft.com/office/officeart/2008/layout/HorizontalMultiLevelHierarchy"/>
    <dgm:cxn modelId="{6F3D2561-E2F9-482A-89D9-B5DB9C3DFF6B}" type="presParOf" srcId="{E7ED1BBD-7A15-4AE8-9FB5-59CA28139754}" destId="{FCF1A4B9-F1AE-4A2D-9385-41C00FFBCB3C}" srcOrd="0" destOrd="0" presId="urn:microsoft.com/office/officeart/2008/layout/HorizontalMultiLevelHierarchy"/>
    <dgm:cxn modelId="{120EE047-2904-4A4E-A6A3-37228B677005}" type="presParOf" srcId="{E7ED1BBD-7A15-4AE8-9FB5-59CA28139754}" destId="{66C74ADC-69C5-4138-88CB-45E3A39CDDCC}" srcOrd="1" destOrd="0" presId="urn:microsoft.com/office/officeart/2008/layout/HorizontalMultiLevelHierarchy"/>
    <dgm:cxn modelId="{8B97795C-F385-487C-A27C-F14ED1DB0172}" type="presParOf" srcId="{FB7FD716-5D96-49D4-B7AB-E4AE00CB7752}" destId="{123517D4-D63B-4D8C-BDB8-DAF5BF91BE4C}" srcOrd="2" destOrd="0" presId="urn:microsoft.com/office/officeart/2008/layout/HorizontalMultiLevelHierarchy"/>
    <dgm:cxn modelId="{CC7EABB9-4499-4659-8A58-4FA1B66ED147}" type="presParOf" srcId="{123517D4-D63B-4D8C-BDB8-DAF5BF91BE4C}" destId="{B3CBB8D9-1EC7-4D54-B126-AF412A87933B}" srcOrd="0" destOrd="0" presId="urn:microsoft.com/office/officeart/2008/layout/HorizontalMultiLevelHierarchy"/>
    <dgm:cxn modelId="{10FA8299-9A5B-4471-ABF8-53B7080A3588}" type="presParOf" srcId="{FB7FD716-5D96-49D4-B7AB-E4AE00CB7752}" destId="{A69198C3-0168-45B4-B9E7-11A45FF90E5B}" srcOrd="3" destOrd="0" presId="urn:microsoft.com/office/officeart/2008/layout/HorizontalMultiLevelHierarchy"/>
    <dgm:cxn modelId="{0679FDA9-636D-41BB-8B9E-C531E4D85F4D}" type="presParOf" srcId="{A69198C3-0168-45B4-B9E7-11A45FF90E5B}" destId="{BA47E97B-73A1-45C6-BE04-AE8F3070E79C}" srcOrd="0" destOrd="0" presId="urn:microsoft.com/office/officeart/2008/layout/HorizontalMultiLevelHierarchy"/>
    <dgm:cxn modelId="{6AB40B18-ACCF-4EB4-9DDF-9B170AA256F9}" type="presParOf" srcId="{A69198C3-0168-45B4-B9E7-11A45FF90E5B}" destId="{849038A2-4CBB-4D7C-A111-7DB2928B6453}" srcOrd="1" destOrd="0" presId="urn:microsoft.com/office/officeart/2008/layout/HorizontalMultiLevelHierarchy"/>
    <dgm:cxn modelId="{BB11FD7F-2DBF-421C-AAE7-84DA63FAA492}" type="presParOf" srcId="{849038A2-4CBB-4D7C-A111-7DB2928B6453}" destId="{44BF53D2-1254-400F-9916-97B2B4BEC4BF}" srcOrd="0" destOrd="0" presId="urn:microsoft.com/office/officeart/2008/layout/HorizontalMultiLevelHierarchy"/>
    <dgm:cxn modelId="{D9FE8B21-0DB4-48F7-B9FB-87BC3715C9D9}" type="presParOf" srcId="{44BF53D2-1254-400F-9916-97B2B4BEC4BF}" destId="{3B08FAA4-F741-4CF6-9F83-3377DD5E5E71}" srcOrd="0" destOrd="0" presId="urn:microsoft.com/office/officeart/2008/layout/HorizontalMultiLevelHierarchy"/>
    <dgm:cxn modelId="{58468B94-E5C1-4A48-81F9-5E92740F9326}" type="presParOf" srcId="{849038A2-4CBB-4D7C-A111-7DB2928B6453}" destId="{161D56DA-EB0C-4903-9687-211EDFA0D2E5}" srcOrd="1" destOrd="0" presId="urn:microsoft.com/office/officeart/2008/layout/HorizontalMultiLevelHierarchy"/>
    <dgm:cxn modelId="{1792450D-A415-454E-81BC-064B11303E4A}" type="presParOf" srcId="{161D56DA-EB0C-4903-9687-211EDFA0D2E5}" destId="{1F028F90-419F-4CEE-9E8E-315326816DB1}" srcOrd="0" destOrd="0" presId="urn:microsoft.com/office/officeart/2008/layout/HorizontalMultiLevelHierarchy"/>
    <dgm:cxn modelId="{0D868E53-88BB-436B-80FB-47E65432C8CC}" type="presParOf" srcId="{161D56DA-EB0C-4903-9687-211EDFA0D2E5}" destId="{0A92E38A-C18E-4286-8791-5772AA007B9A}" srcOrd="1" destOrd="0" presId="urn:microsoft.com/office/officeart/2008/layout/HorizontalMultiLevelHierarchy"/>
    <dgm:cxn modelId="{9801967F-139B-48C9-A218-98BA38BC4185}" type="presParOf" srcId="{849038A2-4CBB-4D7C-A111-7DB2928B6453}" destId="{1E3808DB-04B5-4AFD-B429-E33C19BED5B4}" srcOrd="2" destOrd="0" presId="urn:microsoft.com/office/officeart/2008/layout/HorizontalMultiLevelHierarchy"/>
    <dgm:cxn modelId="{9387BFD3-FBD2-48EF-B922-4EEE2D52C3A2}" type="presParOf" srcId="{1E3808DB-04B5-4AFD-B429-E33C19BED5B4}" destId="{BBC15A52-CF61-4C7C-8CF1-EF42C79AC6EF}" srcOrd="0" destOrd="0" presId="urn:microsoft.com/office/officeart/2008/layout/HorizontalMultiLevelHierarchy"/>
    <dgm:cxn modelId="{DB01EC9E-BD2D-41A8-936B-39636722F29F}" type="presParOf" srcId="{849038A2-4CBB-4D7C-A111-7DB2928B6453}" destId="{8C279D34-9B8C-4153-B655-5457F839324A}" srcOrd="3" destOrd="0" presId="urn:microsoft.com/office/officeart/2008/layout/HorizontalMultiLevelHierarchy"/>
    <dgm:cxn modelId="{B2BD097A-E9A6-4858-BC8E-44258707A298}" type="presParOf" srcId="{8C279D34-9B8C-4153-B655-5457F839324A}" destId="{5E9760B2-E2CF-4D51-AC1B-D5B8D704AC21}" srcOrd="0" destOrd="0" presId="urn:microsoft.com/office/officeart/2008/layout/HorizontalMultiLevelHierarchy"/>
    <dgm:cxn modelId="{0CF0E867-F2C7-45AF-A0F2-AC4D3E8C2E0B}" type="presParOf" srcId="{8C279D34-9B8C-4153-B655-5457F839324A}" destId="{9940D2F0-E266-4FB1-8436-ED2CCC5B62C5}" srcOrd="1" destOrd="0" presId="urn:microsoft.com/office/officeart/2008/layout/HorizontalMultiLevelHierarchy"/>
    <dgm:cxn modelId="{E586DE2E-B52B-4259-B5D3-DD9529E327D3}" type="presParOf" srcId="{FB7FD716-5D96-49D4-B7AB-E4AE00CB7752}" destId="{73FDB859-2B33-43C4-90D7-A993D293C474}" srcOrd="4" destOrd="0" presId="urn:microsoft.com/office/officeart/2008/layout/HorizontalMultiLevelHierarchy"/>
    <dgm:cxn modelId="{B7D3A0FE-1A10-4B86-BA62-9A3E30CE7FBA}" type="presParOf" srcId="{73FDB859-2B33-43C4-90D7-A993D293C474}" destId="{6C5EF8D0-56C5-4C3C-BC8C-5C4B2F3893DF}" srcOrd="0" destOrd="0" presId="urn:microsoft.com/office/officeart/2008/layout/HorizontalMultiLevelHierarchy"/>
    <dgm:cxn modelId="{372DD63E-64D1-47D7-AFA9-3210DADB6F5F}" type="presParOf" srcId="{FB7FD716-5D96-49D4-B7AB-E4AE00CB7752}" destId="{8EA81923-F13D-4BE0-9907-DF4AA98A8222}" srcOrd="5" destOrd="0" presId="urn:microsoft.com/office/officeart/2008/layout/HorizontalMultiLevelHierarchy"/>
    <dgm:cxn modelId="{0875B28F-7E08-4C88-8052-951F100C2FCF}" type="presParOf" srcId="{8EA81923-F13D-4BE0-9907-DF4AA98A8222}" destId="{70815C2A-177C-4DFE-A2F0-A5B4ECE790E4}" srcOrd="0" destOrd="0" presId="urn:microsoft.com/office/officeart/2008/layout/HorizontalMultiLevelHierarchy"/>
    <dgm:cxn modelId="{55177E8F-0503-465C-9748-25660927A6F1}" type="presParOf" srcId="{8EA81923-F13D-4BE0-9907-DF4AA98A8222}" destId="{3383A2AA-46D4-4E11-BA46-B4702157CD1A}" srcOrd="1" destOrd="0" presId="urn:microsoft.com/office/officeart/2008/layout/HorizontalMultiLevelHierarchy"/>
    <dgm:cxn modelId="{356754BD-097C-499B-9187-3F8A72A3B205}" type="presParOf" srcId="{3383A2AA-46D4-4E11-BA46-B4702157CD1A}" destId="{6CDCFBEC-F44C-4309-9582-B72C00083829}" srcOrd="0" destOrd="0" presId="urn:microsoft.com/office/officeart/2008/layout/HorizontalMultiLevelHierarchy"/>
    <dgm:cxn modelId="{D83199BF-A860-43B8-9A5B-F54AB99CD039}" type="presParOf" srcId="{6CDCFBEC-F44C-4309-9582-B72C00083829}" destId="{D3E07340-FF7D-4412-929E-4B4BC81B4244}" srcOrd="0" destOrd="0" presId="urn:microsoft.com/office/officeart/2008/layout/HorizontalMultiLevelHierarchy"/>
    <dgm:cxn modelId="{8C66DE25-0091-4CAA-BE60-555838A076CC}" type="presParOf" srcId="{3383A2AA-46D4-4E11-BA46-B4702157CD1A}" destId="{6E9368CE-9807-448B-98D7-E14380AC9491}" srcOrd="1" destOrd="0" presId="urn:microsoft.com/office/officeart/2008/layout/HorizontalMultiLevelHierarchy"/>
    <dgm:cxn modelId="{20688CA4-651A-4CAB-ACFD-A45E30670A6E}" type="presParOf" srcId="{6E9368CE-9807-448B-98D7-E14380AC9491}" destId="{1C0C0F71-F2BA-4E4E-BEE9-BC0F62246BA8}" srcOrd="0" destOrd="0" presId="urn:microsoft.com/office/officeart/2008/layout/HorizontalMultiLevelHierarchy"/>
    <dgm:cxn modelId="{2244565F-82EA-4E16-8838-E1F364E0CDDF}" type="presParOf" srcId="{6E9368CE-9807-448B-98D7-E14380AC9491}" destId="{C61D5EE5-2C4A-4CB4-B259-61AD29E5F96F}" srcOrd="1" destOrd="0" presId="urn:microsoft.com/office/officeart/2008/layout/HorizontalMultiLevelHierarchy"/>
    <dgm:cxn modelId="{62BAFCD6-DD24-4D0E-9D35-AD09342789E3}" type="presParOf" srcId="{3383A2AA-46D4-4E11-BA46-B4702157CD1A}" destId="{60F41317-B0B5-4B2C-ADAF-A4C1E474CD79}" srcOrd="2" destOrd="0" presId="urn:microsoft.com/office/officeart/2008/layout/HorizontalMultiLevelHierarchy"/>
    <dgm:cxn modelId="{09698A04-98BC-4268-8E1F-ED2527226AE8}" type="presParOf" srcId="{60F41317-B0B5-4B2C-ADAF-A4C1E474CD79}" destId="{BC4C0A73-A08A-41AF-9B8D-7575E6AAD8AE}" srcOrd="0" destOrd="0" presId="urn:microsoft.com/office/officeart/2008/layout/HorizontalMultiLevelHierarchy"/>
    <dgm:cxn modelId="{07C00233-58D1-4484-85F0-D60C339ACE92}" type="presParOf" srcId="{3383A2AA-46D4-4E11-BA46-B4702157CD1A}" destId="{0A2454F3-3061-4DFF-BC72-B111121AF0FF}" srcOrd="3" destOrd="0" presId="urn:microsoft.com/office/officeart/2008/layout/HorizontalMultiLevelHierarchy"/>
    <dgm:cxn modelId="{FFE65B6A-855F-467D-83D5-F1FD9DB7E03A}" type="presParOf" srcId="{0A2454F3-3061-4DFF-BC72-B111121AF0FF}" destId="{382CAEC3-2E1C-4E8D-AAF8-359529BF89AE}" srcOrd="0" destOrd="0" presId="urn:microsoft.com/office/officeart/2008/layout/HorizontalMultiLevelHierarchy"/>
    <dgm:cxn modelId="{EA751759-DBEE-4BEA-8C81-974486E4FF01}" type="presParOf" srcId="{0A2454F3-3061-4DFF-BC72-B111121AF0FF}" destId="{67682052-C077-47BE-8C36-F4676649FCDE}" srcOrd="1" destOrd="0" presId="urn:microsoft.com/office/officeart/2008/layout/HorizontalMultiLevelHierarchy"/>
    <dgm:cxn modelId="{2CBC4A86-2155-4A94-B70C-6F104B4C6893}" type="presParOf" srcId="{67682052-C077-47BE-8C36-F4676649FCDE}" destId="{E8E88B6A-E8C8-447B-A120-ABEB243ADEDC}" srcOrd="0" destOrd="0" presId="urn:microsoft.com/office/officeart/2008/layout/HorizontalMultiLevelHierarchy"/>
    <dgm:cxn modelId="{7DED6B69-0C38-45D6-A58A-B646CE4052B0}" type="presParOf" srcId="{E8E88B6A-E8C8-447B-A120-ABEB243ADEDC}" destId="{964880C0-1AB2-4365-BB70-7CE1CDE37616}" srcOrd="0" destOrd="0" presId="urn:microsoft.com/office/officeart/2008/layout/HorizontalMultiLevelHierarchy"/>
    <dgm:cxn modelId="{962E94F0-E158-4269-9219-3A09137052D4}" type="presParOf" srcId="{67682052-C077-47BE-8C36-F4676649FCDE}" destId="{2254BDFE-5FDB-479A-A0B6-F1F10B821314}" srcOrd="1" destOrd="0" presId="urn:microsoft.com/office/officeart/2008/layout/HorizontalMultiLevelHierarchy"/>
    <dgm:cxn modelId="{C1208C95-1E26-4B5F-9068-B8BD33B735E0}" type="presParOf" srcId="{2254BDFE-5FDB-479A-A0B6-F1F10B821314}" destId="{74A98660-31F9-4DCA-8A0E-4D15B283CF98}" srcOrd="0" destOrd="0" presId="urn:microsoft.com/office/officeart/2008/layout/HorizontalMultiLevelHierarchy"/>
    <dgm:cxn modelId="{6341E994-185A-4403-BA85-EA874075F163}" type="presParOf" srcId="{2254BDFE-5FDB-479A-A0B6-F1F10B821314}" destId="{4CCAB44B-1FB8-4E22-BFBC-47C6352642F0}" srcOrd="1" destOrd="0" presId="urn:microsoft.com/office/officeart/2008/layout/HorizontalMultiLevelHierarchy"/>
  </dgm:cxnLst>
  <dgm:bg>
    <a:noFill/>
  </dgm:bg>
  <dgm:whole/>
  <dgm:extLst>
    <a:ext uri="http://schemas.microsoft.com/office/drawing/2008/diagram">
      <dsp:dataModelExt xmlns:dsp="http://schemas.microsoft.com/office/drawing/2008/diagram" relId="rId10"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5801DDE2-A42E-4BA8-91A5-0E067C994F63}" type="doc">
      <dgm:prSet loTypeId="urn:microsoft.com/office/officeart/2008/layout/HorizontalMultiLevelHierarchy" loCatId="hierarchy" qsTypeId="urn:microsoft.com/office/officeart/2005/8/quickstyle/simple1" qsCatId="simple" csTypeId="urn:microsoft.com/office/officeart/2005/8/colors/accent3_2" csCatId="accent3" phldr="1"/>
      <dgm:spPr/>
      <dgm:t>
        <a:bodyPr/>
        <a:lstStyle/>
        <a:p>
          <a:endParaRPr lang="en-US"/>
        </a:p>
      </dgm:t>
    </dgm:pt>
    <dgm:pt modelId="{6FA16986-560A-437E-8974-D6FF36C0DF28}">
      <dgm:prSet phldrT="[Text]" custT="1"/>
      <dgm:spPr/>
      <dgm:t>
        <a:bodyPr/>
        <a:lstStyle/>
        <a:p>
          <a:r>
            <a:rPr lang="en-US" sz="1800" u="none" strike="noStrike" dirty="0">
              <a:effectLst/>
            </a:rPr>
            <a:t>FSBM1 Outage</a:t>
          </a:r>
          <a:endParaRPr lang="en-US" sz="1800" dirty="0"/>
        </a:p>
      </dgm:t>
    </dgm:pt>
    <dgm:pt modelId="{86B6C37A-9D8D-4336-9BEF-B94ACD1419B2}" type="parTrans" cxnId="{8DE27B4C-D77D-4DA3-AE3A-8F1138B1C42A}">
      <dgm:prSet/>
      <dgm:spPr/>
      <dgm:t>
        <a:bodyPr/>
        <a:lstStyle/>
        <a:p>
          <a:endParaRPr lang="en-US" sz="1400"/>
        </a:p>
      </dgm:t>
    </dgm:pt>
    <dgm:pt modelId="{D4E73E94-85F6-4919-B44B-E7917412E6F1}" type="sibTrans" cxnId="{8DE27B4C-D77D-4DA3-AE3A-8F1138B1C42A}">
      <dgm:prSet/>
      <dgm:spPr/>
      <dgm:t>
        <a:bodyPr/>
        <a:lstStyle/>
        <a:p>
          <a:endParaRPr lang="en-US" sz="1400"/>
        </a:p>
      </dgm:t>
    </dgm:pt>
    <dgm:pt modelId="{EC02711C-11FE-45BA-AC82-5F75F69FA6CD}">
      <dgm:prSet phldrT="[Text]" custT="1"/>
      <dgm:spPr/>
      <dgm:t>
        <a:bodyPr/>
        <a:lstStyle/>
        <a:p>
          <a:r>
            <a:rPr lang="en-US" sz="1400" u="none" strike="noStrike">
              <a:effectLst/>
            </a:rPr>
            <a:t>FSBM1 was past end of life and failed in service.</a:t>
          </a:r>
          <a:endParaRPr lang="en-US" sz="1400" dirty="0"/>
        </a:p>
      </dgm:t>
    </dgm:pt>
    <dgm:pt modelId="{63C28EA4-28C0-4938-BBFE-90FCABE24F41}" type="parTrans" cxnId="{B18C7E67-1595-466B-AE7A-7C68AB63A230}">
      <dgm:prSet custT="1"/>
      <dgm:spPr/>
      <dgm:t>
        <a:bodyPr/>
        <a:lstStyle/>
        <a:p>
          <a:endParaRPr lang="en-US" sz="1400"/>
        </a:p>
      </dgm:t>
    </dgm:pt>
    <dgm:pt modelId="{012A1100-D88A-4111-8C88-0DC5556DE533}" type="sibTrans" cxnId="{B18C7E67-1595-466B-AE7A-7C68AB63A230}">
      <dgm:prSet/>
      <dgm:spPr/>
      <dgm:t>
        <a:bodyPr/>
        <a:lstStyle/>
        <a:p>
          <a:endParaRPr lang="en-US" sz="1400"/>
        </a:p>
      </dgm:t>
    </dgm:pt>
    <dgm:pt modelId="{9467C935-C953-4DDF-9FAB-10F5C4B89D81}">
      <dgm:prSet phldrT="[Text]" custT="1"/>
      <dgm:spPr/>
      <dgm:t>
        <a:bodyPr/>
        <a:lstStyle/>
        <a:p>
          <a:r>
            <a:rPr lang="en-US" sz="1400" u="none" strike="noStrike">
              <a:effectLst/>
            </a:rPr>
            <a:t>OEM recommended 7yrs of service.</a:t>
          </a:r>
          <a:endParaRPr lang="en-US" sz="1400" dirty="0"/>
        </a:p>
      </dgm:t>
    </dgm:pt>
    <dgm:pt modelId="{B1B957FD-C951-4963-A9EA-37806DF468B9}" type="parTrans" cxnId="{560532C0-40E3-44E0-943D-B0C21890AAB9}">
      <dgm:prSet custT="1"/>
      <dgm:spPr/>
      <dgm:t>
        <a:bodyPr/>
        <a:lstStyle/>
        <a:p>
          <a:endParaRPr lang="en-US" sz="1400"/>
        </a:p>
      </dgm:t>
    </dgm:pt>
    <dgm:pt modelId="{A9267DC6-5688-4135-9315-02F72372AC3E}" type="sibTrans" cxnId="{560532C0-40E3-44E0-943D-B0C21890AAB9}">
      <dgm:prSet/>
      <dgm:spPr/>
      <dgm:t>
        <a:bodyPr/>
        <a:lstStyle/>
        <a:p>
          <a:endParaRPr lang="en-US" sz="1400"/>
        </a:p>
      </dgm:t>
    </dgm:pt>
    <dgm:pt modelId="{0E715689-3991-4B89-B141-B8BC5C1A9C84}">
      <dgm:prSet custT="1"/>
      <dgm:spPr/>
      <dgm:t>
        <a:bodyPr/>
        <a:lstStyle/>
        <a:p>
          <a:r>
            <a:rPr lang="en-US" sz="1400" u="none" strike="noStrike">
              <a:effectLst/>
            </a:rPr>
            <a:t>Shell-RBI study outcome extended field service to 10yrs.</a:t>
          </a:r>
          <a:endParaRPr lang="en-US" sz="1400" b="0" i="0" u="none" strike="noStrike" dirty="0">
            <a:effectLst/>
            <a:latin typeface="+mn-lt"/>
          </a:endParaRPr>
        </a:p>
      </dgm:t>
    </dgm:pt>
    <dgm:pt modelId="{0754096F-75A6-4FE2-99F0-EA0E21E98C0D}" type="parTrans" cxnId="{5CFCB939-73AA-4893-A1C6-F1E164F235B3}">
      <dgm:prSet custT="1"/>
      <dgm:spPr/>
      <dgm:t>
        <a:bodyPr/>
        <a:lstStyle/>
        <a:p>
          <a:endParaRPr lang="en-US" sz="1400"/>
        </a:p>
      </dgm:t>
    </dgm:pt>
    <dgm:pt modelId="{ADB05A49-ED1A-4C3A-A489-EF0E9AD64E3C}" type="sibTrans" cxnId="{5CFCB939-73AA-4893-A1C6-F1E164F235B3}">
      <dgm:prSet/>
      <dgm:spPr/>
      <dgm:t>
        <a:bodyPr/>
        <a:lstStyle/>
        <a:p>
          <a:endParaRPr lang="en-US" sz="1400"/>
        </a:p>
      </dgm:t>
    </dgm:pt>
    <dgm:pt modelId="{6420544D-D0CA-4181-B849-56155D085D00}">
      <dgm:prSet custT="1"/>
      <dgm:spPr/>
      <dgm:t>
        <a:bodyPr/>
        <a:lstStyle/>
        <a:p>
          <a:r>
            <a:rPr lang="en-US" sz="1400" u="none" strike="noStrike">
              <a:effectLst/>
            </a:rPr>
            <a:t>FSBM1 was in service for &gt;12yrs.</a:t>
          </a:r>
          <a:endParaRPr lang="en-US" sz="1400" b="0" i="0" u="none" strike="noStrike" dirty="0">
            <a:effectLst/>
            <a:latin typeface="+mn-lt"/>
          </a:endParaRPr>
        </a:p>
      </dgm:t>
    </dgm:pt>
    <dgm:pt modelId="{35DD3AD2-6E1B-4E9C-AC66-D1E3DDCCA915}" type="parTrans" cxnId="{0D1D8B97-E9D8-4C33-892C-0F758F3ACA4B}">
      <dgm:prSet custT="1"/>
      <dgm:spPr/>
      <dgm:t>
        <a:bodyPr/>
        <a:lstStyle/>
        <a:p>
          <a:endParaRPr lang="en-US" sz="1400"/>
        </a:p>
      </dgm:t>
    </dgm:pt>
    <dgm:pt modelId="{9C6E22E6-F389-40A4-B524-3A361C8751A3}" type="sibTrans" cxnId="{0D1D8B97-E9D8-4C33-892C-0F758F3ACA4B}">
      <dgm:prSet/>
      <dgm:spPr/>
      <dgm:t>
        <a:bodyPr/>
        <a:lstStyle/>
        <a:p>
          <a:endParaRPr lang="en-US" sz="1400"/>
        </a:p>
      </dgm:t>
    </dgm:pt>
    <dgm:pt modelId="{DB5C2851-5ABB-4F45-9DDD-485411509B49}" type="pres">
      <dgm:prSet presAssocID="{5801DDE2-A42E-4BA8-91A5-0E067C994F63}" presName="Name0" presStyleCnt="0">
        <dgm:presLayoutVars>
          <dgm:chPref val="1"/>
          <dgm:dir/>
          <dgm:animOne val="branch"/>
          <dgm:animLvl val="lvl"/>
          <dgm:resizeHandles val="exact"/>
        </dgm:presLayoutVars>
      </dgm:prSet>
      <dgm:spPr/>
    </dgm:pt>
    <dgm:pt modelId="{96368EDE-D603-4CC1-9FD7-C077E88F66C9}" type="pres">
      <dgm:prSet presAssocID="{6FA16986-560A-437E-8974-D6FF36C0DF28}" presName="root1" presStyleCnt="0"/>
      <dgm:spPr/>
    </dgm:pt>
    <dgm:pt modelId="{D3BB1FCC-09FA-4437-A170-51597D85A3C4}" type="pres">
      <dgm:prSet presAssocID="{6FA16986-560A-437E-8974-D6FF36C0DF28}" presName="LevelOneTextNode" presStyleLbl="node0" presStyleIdx="0" presStyleCnt="1" custScaleY="86949" custLinFactNeighborX="0">
        <dgm:presLayoutVars>
          <dgm:chPref val="3"/>
        </dgm:presLayoutVars>
      </dgm:prSet>
      <dgm:spPr/>
    </dgm:pt>
    <dgm:pt modelId="{F6F4F82D-4C12-4E69-A4B3-5B778A976893}" type="pres">
      <dgm:prSet presAssocID="{6FA16986-560A-437E-8974-D6FF36C0DF28}" presName="level2hierChild" presStyleCnt="0"/>
      <dgm:spPr/>
    </dgm:pt>
    <dgm:pt modelId="{B760740F-A13A-4E4E-8359-836BE1509DA4}" type="pres">
      <dgm:prSet presAssocID="{63C28EA4-28C0-4938-BBFE-90FCABE24F41}" presName="conn2-1" presStyleLbl="parChTrans1D2" presStyleIdx="0" presStyleCnt="1"/>
      <dgm:spPr/>
    </dgm:pt>
    <dgm:pt modelId="{E89AC762-D133-4897-9122-42A74DB6AD57}" type="pres">
      <dgm:prSet presAssocID="{63C28EA4-28C0-4938-BBFE-90FCABE24F41}" presName="connTx" presStyleLbl="parChTrans1D2" presStyleIdx="0" presStyleCnt="1"/>
      <dgm:spPr/>
    </dgm:pt>
    <dgm:pt modelId="{E08657CA-BC0E-4F05-9E19-D17FCD6E8383}" type="pres">
      <dgm:prSet presAssocID="{EC02711C-11FE-45BA-AC82-5F75F69FA6CD}" presName="root2" presStyleCnt="0"/>
      <dgm:spPr/>
    </dgm:pt>
    <dgm:pt modelId="{28439F13-0447-40B0-ABC0-F4B6BAFF497C}" type="pres">
      <dgm:prSet presAssocID="{EC02711C-11FE-45BA-AC82-5F75F69FA6CD}" presName="LevelTwoTextNode" presStyleLbl="node2" presStyleIdx="0" presStyleCnt="1" custScaleX="355165" custScaleY="309884">
        <dgm:presLayoutVars>
          <dgm:chPref val="3"/>
        </dgm:presLayoutVars>
      </dgm:prSet>
      <dgm:spPr/>
    </dgm:pt>
    <dgm:pt modelId="{0BD1DB67-119A-4220-84E1-784C969DD94A}" type="pres">
      <dgm:prSet presAssocID="{EC02711C-11FE-45BA-AC82-5F75F69FA6CD}" presName="level3hierChild" presStyleCnt="0"/>
      <dgm:spPr/>
    </dgm:pt>
    <dgm:pt modelId="{273A64E4-2733-4169-89BA-12A43FE57B6F}" type="pres">
      <dgm:prSet presAssocID="{B1B957FD-C951-4963-A9EA-37806DF468B9}" presName="conn2-1" presStyleLbl="parChTrans1D3" presStyleIdx="0" presStyleCnt="3"/>
      <dgm:spPr/>
    </dgm:pt>
    <dgm:pt modelId="{1306C4D8-0AE3-4AAC-97C9-98359BC51682}" type="pres">
      <dgm:prSet presAssocID="{B1B957FD-C951-4963-A9EA-37806DF468B9}" presName="connTx" presStyleLbl="parChTrans1D3" presStyleIdx="0" presStyleCnt="3"/>
      <dgm:spPr/>
    </dgm:pt>
    <dgm:pt modelId="{F9E1B658-A42E-4094-95B9-B0BF245A36B3}" type="pres">
      <dgm:prSet presAssocID="{9467C935-C953-4DDF-9FAB-10F5C4B89D81}" presName="root2" presStyleCnt="0"/>
      <dgm:spPr/>
    </dgm:pt>
    <dgm:pt modelId="{7A9A43E4-6F15-41B1-BE5F-71D24894185C}" type="pres">
      <dgm:prSet presAssocID="{9467C935-C953-4DDF-9FAB-10F5C4B89D81}" presName="LevelTwoTextNode" presStyleLbl="node3" presStyleIdx="0" presStyleCnt="3" custScaleX="326748">
        <dgm:presLayoutVars>
          <dgm:chPref val="3"/>
        </dgm:presLayoutVars>
      </dgm:prSet>
      <dgm:spPr/>
    </dgm:pt>
    <dgm:pt modelId="{8DC981FB-E47E-492A-AC75-74F41E0EC463}" type="pres">
      <dgm:prSet presAssocID="{9467C935-C953-4DDF-9FAB-10F5C4B89D81}" presName="level3hierChild" presStyleCnt="0"/>
      <dgm:spPr/>
    </dgm:pt>
    <dgm:pt modelId="{3EA69743-5B8C-4E15-B9F2-F4CE05005338}" type="pres">
      <dgm:prSet presAssocID="{0754096F-75A6-4FE2-99F0-EA0E21E98C0D}" presName="conn2-1" presStyleLbl="parChTrans1D3" presStyleIdx="1" presStyleCnt="3"/>
      <dgm:spPr/>
    </dgm:pt>
    <dgm:pt modelId="{05D6AC35-E890-47ED-8841-F928371B01CB}" type="pres">
      <dgm:prSet presAssocID="{0754096F-75A6-4FE2-99F0-EA0E21E98C0D}" presName="connTx" presStyleLbl="parChTrans1D3" presStyleIdx="1" presStyleCnt="3"/>
      <dgm:spPr/>
    </dgm:pt>
    <dgm:pt modelId="{EC758BCD-FB62-4094-B855-694F31549D8D}" type="pres">
      <dgm:prSet presAssocID="{0E715689-3991-4B89-B141-B8BC5C1A9C84}" presName="root2" presStyleCnt="0"/>
      <dgm:spPr/>
    </dgm:pt>
    <dgm:pt modelId="{29E49546-84CD-423E-871A-0018FD47A293}" type="pres">
      <dgm:prSet presAssocID="{0E715689-3991-4B89-B141-B8BC5C1A9C84}" presName="LevelTwoTextNode" presStyleLbl="node3" presStyleIdx="1" presStyleCnt="3" custScaleX="326748">
        <dgm:presLayoutVars>
          <dgm:chPref val="3"/>
        </dgm:presLayoutVars>
      </dgm:prSet>
      <dgm:spPr/>
    </dgm:pt>
    <dgm:pt modelId="{DA791E1B-EA2F-444D-8E74-1566DF889B3B}" type="pres">
      <dgm:prSet presAssocID="{0E715689-3991-4B89-B141-B8BC5C1A9C84}" presName="level3hierChild" presStyleCnt="0"/>
      <dgm:spPr/>
    </dgm:pt>
    <dgm:pt modelId="{82BFD7F7-B4D2-42D2-BDA7-BACF81CB569F}" type="pres">
      <dgm:prSet presAssocID="{35DD3AD2-6E1B-4E9C-AC66-D1E3DDCCA915}" presName="conn2-1" presStyleLbl="parChTrans1D3" presStyleIdx="2" presStyleCnt="3"/>
      <dgm:spPr/>
    </dgm:pt>
    <dgm:pt modelId="{CAC199C6-99CC-4E67-AD96-AF15DDD29E50}" type="pres">
      <dgm:prSet presAssocID="{35DD3AD2-6E1B-4E9C-AC66-D1E3DDCCA915}" presName="connTx" presStyleLbl="parChTrans1D3" presStyleIdx="2" presStyleCnt="3"/>
      <dgm:spPr/>
    </dgm:pt>
    <dgm:pt modelId="{32B953E4-1B25-4645-B5E9-0094D9DC3B54}" type="pres">
      <dgm:prSet presAssocID="{6420544D-D0CA-4181-B849-56155D085D00}" presName="root2" presStyleCnt="0"/>
      <dgm:spPr/>
    </dgm:pt>
    <dgm:pt modelId="{285DDC65-DBCC-4702-ABCB-74D1270C63AC}" type="pres">
      <dgm:prSet presAssocID="{6420544D-D0CA-4181-B849-56155D085D00}" presName="LevelTwoTextNode" presStyleLbl="node3" presStyleIdx="2" presStyleCnt="3" custScaleX="326748">
        <dgm:presLayoutVars>
          <dgm:chPref val="3"/>
        </dgm:presLayoutVars>
      </dgm:prSet>
      <dgm:spPr/>
    </dgm:pt>
    <dgm:pt modelId="{B9EB0D2C-54AB-4573-B5F0-C15CF4D2031C}" type="pres">
      <dgm:prSet presAssocID="{6420544D-D0CA-4181-B849-56155D085D00}" presName="level3hierChild" presStyleCnt="0"/>
      <dgm:spPr/>
    </dgm:pt>
  </dgm:ptLst>
  <dgm:cxnLst>
    <dgm:cxn modelId="{AF440804-9966-44A1-B4E7-36B2A0DA6DFD}" type="presOf" srcId="{EC02711C-11FE-45BA-AC82-5F75F69FA6CD}" destId="{28439F13-0447-40B0-ABC0-F4B6BAFF497C}" srcOrd="0" destOrd="0" presId="urn:microsoft.com/office/officeart/2008/layout/HorizontalMultiLevelHierarchy"/>
    <dgm:cxn modelId="{BDB7690B-E9C8-433F-83DF-5061549AC3A4}" type="presOf" srcId="{B1B957FD-C951-4963-A9EA-37806DF468B9}" destId="{273A64E4-2733-4169-89BA-12A43FE57B6F}" srcOrd="0" destOrd="0" presId="urn:microsoft.com/office/officeart/2008/layout/HorizontalMultiLevelHierarchy"/>
    <dgm:cxn modelId="{47C58B11-1712-4E21-8677-0503F9465740}" type="presOf" srcId="{5801DDE2-A42E-4BA8-91A5-0E067C994F63}" destId="{DB5C2851-5ABB-4F45-9DDD-485411509B49}" srcOrd="0" destOrd="0" presId="urn:microsoft.com/office/officeart/2008/layout/HorizontalMultiLevelHierarchy"/>
    <dgm:cxn modelId="{9007551A-E021-49CE-9CB9-6536A2178188}" type="presOf" srcId="{63C28EA4-28C0-4938-BBFE-90FCABE24F41}" destId="{E89AC762-D133-4897-9122-42A74DB6AD57}" srcOrd="1" destOrd="0" presId="urn:microsoft.com/office/officeart/2008/layout/HorizontalMultiLevelHierarchy"/>
    <dgm:cxn modelId="{5CFCB939-73AA-4893-A1C6-F1E164F235B3}" srcId="{EC02711C-11FE-45BA-AC82-5F75F69FA6CD}" destId="{0E715689-3991-4B89-B141-B8BC5C1A9C84}" srcOrd="1" destOrd="0" parTransId="{0754096F-75A6-4FE2-99F0-EA0E21E98C0D}" sibTransId="{ADB05A49-ED1A-4C3A-A489-EF0E9AD64E3C}"/>
    <dgm:cxn modelId="{B18C7E67-1595-466B-AE7A-7C68AB63A230}" srcId="{6FA16986-560A-437E-8974-D6FF36C0DF28}" destId="{EC02711C-11FE-45BA-AC82-5F75F69FA6CD}" srcOrd="0" destOrd="0" parTransId="{63C28EA4-28C0-4938-BBFE-90FCABE24F41}" sibTransId="{012A1100-D88A-4111-8C88-0DC5556DE533}"/>
    <dgm:cxn modelId="{8DE27B4C-D77D-4DA3-AE3A-8F1138B1C42A}" srcId="{5801DDE2-A42E-4BA8-91A5-0E067C994F63}" destId="{6FA16986-560A-437E-8974-D6FF36C0DF28}" srcOrd="0" destOrd="0" parTransId="{86B6C37A-9D8D-4336-9BEF-B94ACD1419B2}" sibTransId="{D4E73E94-85F6-4919-B44B-E7917412E6F1}"/>
    <dgm:cxn modelId="{27AE4158-A198-475E-90A5-8AA156B015C7}" type="presOf" srcId="{0E715689-3991-4B89-B141-B8BC5C1A9C84}" destId="{29E49546-84CD-423E-871A-0018FD47A293}" srcOrd="0" destOrd="0" presId="urn:microsoft.com/office/officeart/2008/layout/HorizontalMultiLevelHierarchy"/>
    <dgm:cxn modelId="{FC51138A-7155-43C6-BB58-6795CE1864DF}" type="presOf" srcId="{0754096F-75A6-4FE2-99F0-EA0E21E98C0D}" destId="{05D6AC35-E890-47ED-8841-F928371B01CB}" srcOrd="1" destOrd="0" presId="urn:microsoft.com/office/officeart/2008/layout/HorizontalMultiLevelHierarchy"/>
    <dgm:cxn modelId="{0D1D8B97-E9D8-4C33-892C-0F758F3ACA4B}" srcId="{EC02711C-11FE-45BA-AC82-5F75F69FA6CD}" destId="{6420544D-D0CA-4181-B849-56155D085D00}" srcOrd="2" destOrd="0" parTransId="{35DD3AD2-6E1B-4E9C-AC66-D1E3DDCCA915}" sibTransId="{9C6E22E6-F389-40A4-B524-3A361C8751A3}"/>
    <dgm:cxn modelId="{9CCD969B-77FD-4B4D-9C90-EB155368258A}" type="presOf" srcId="{0754096F-75A6-4FE2-99F0-EA0E21E98C0D}" destId="{3EA69743-5B8C-4E15-B9F2-F4CE05005338}" srcOrd="0" destOrd="0" presId="urn:microsoft.com/office/officeart/2008/layout/HorizontalMultiLevelHierarchy"/>
    <dgm:cxn modelId="{874928A7-40BB-476C-BC86-0961339069EA}" type="presOf" srcId="{B1B957FD-C951-4963-A9EA-37806DF468B9}" destId="{1306C4D8-0AE3-4AAC-97C9-98359BC51682}" srcOrd="1" destOrd="0" presId="urn:microsoft.com/office/officeart/2008/layout/HorizontalMultiLevelHierarchy"/>
    <dgm:cxn modelId="{6BF9A9B2-A555-4375-B9C9-A5906AD1B3D8}" type="presOf" srcId="{6420544D-D0CA-4181-B849-56155D085D00}" destId="{285DDC65-DBCC-4702-ABCB-74D1270C63AC}" srcOrd="0" destOrd="0" presId="urn:microsoft.com/office/officeart/2008/layout/HorizontalMultiLevelHierarchy"/>
    <dgm:cxn modelId="{560532C0-40E3-44E0-943D-B0C21890AAB9}" srcId="{EC02711C-11FE-45BA-AC82-5F75F69FA6CD}" destId="{9467C935-C953-4DDF-9FAB-10F5C4B89D81}" srcOrd="0" destOrd="0" parTransId="{B1B957FD-C951-4963-A9EA-37806DF468B9}" sibTransId="{A9267DC6-5688-4135-9315-02F72372AC3E}"/>
    <dgm:cxn modelId="{FFDBDDCB-9928-4C75-B989-92BC29FE9C13}" type="presOf" srcId="{63C28EA4-28C0-4938-BBFE-90FCABE24F41}" destId="{B760740F-A13A-4E4E-8359-836BE1509DA4}" srcOrd="0" destOrd="0" presId="urn:microsoft.com/office/officeart/2008/layout/HorizontalMultiLevelHierarchy"/>
    <dgm:cxn modelId="{89C476D9-EF70-4104-9F16-9E9A846A745B}" type="presOf" srcId="{6FA16986-560A-437E-8974-D6FF36C0DF28}" destId="{D3BB1FCC-09FA-4437-A170-51597D85A3C4}" srcOrd="0" destOrd="0" presId="urn:microsoft.com/office/officeart/2008/layout/HorizontalMultiLevelHierarchy"/>
    <dgm:cxn modelId="{AD0896D9-4473-49EA-9E6B-ED4CA492F581}" type="presOf" srcId="{35DD3AD2-6E1B-4E9C-AC66-D1E3DDCCA915}" destId="{CAC199C6-99CC-4E67-AD96-AF15DDD29E50}" srcOrd="1" destOrd="0" presId="urn:microsoft.com/office/officeart/2008/layout/HorizontalMultiLevelHierarchy"/>
    <dgm:cxn modelId="{37C673F1-0D0B-4858-9931-58AE379A6CE6}" type="presOf" srcId="{9467C935-C953-4DDF-9FAB-10F5C4B89D81}" destId="{7A9A43E4-6F15-41B1-BE5F-71D24894185C}" srcOrd="0" destOrd="0" presId="urn:microsoft.com/office/officeart/2008/layout/HorizontalMultiLevelHierarchy"/>
    <dgm:cxn modelId="{915261FB-6BE3-46F7-86B9-EAEBBB38867E}" type="presOf" srcId="{35DD3AD2-6E1B-4E9C-AC66-D1E3DDCCA915}" destId="{82BFD7F7-B4D2-42D2-BDA7-BACF81CB569F}" srcOrd="0" destOrd="0" presId="urn:microsoft.com/office/officeart/2008/layout/HorizontalMultiLevelHierarchy"/>
    <dgm:cxn modelId="{1F53BE2D-97AD-44B0-94AB-C929B75E7A4B}" type="presParOf" srcId="{DB5C2851-5ABB-4F45-9DDD-485411509B49}" destId="{96368EDE-D603-4CC1-9FD7-C077E88F66C9}" srcOrd="0" destOrd="0" presId="urn:microsoft.com/office/officeart/2008/layout/HorizontalMultiLevelHierarchy"/>
    <dgm:cxn modelId="{F67639C6-53A5-408B-918C-59AFDB96C28A}" type="presParOf" srcId="{96368EDE-D603-4CC1-9FD7-C077E88F66C9}" destId="{D3BB1FCC-09FA-4437-A170-51597D85A3C4}" srcOrd="0" destOrd="0" presId="urn:microsoft.com/office/officeart/2008/layout/HorizontalMultiLevelHierarchy"/>
    <dgm:cxn modelId="{9E338B2A-6ABB-46A0-B9E6-EF313B9D10D0}" type="presParOf" srcId="{96368EDE-D603-4CC1-9FD7-C077E88F66C9}" destId="{F6F4F82D-4C12-4E69-A4B3-5B778A976893}" srcOrd="1" destOrd="0" presId="urn:microsoft.com/office/officeart/2008/layout/HorizontalMultiLevelHierarchy"/>
    <dgm:cxn modelId="{A9F2D004-7783-4FAB-9257-A83EDD5D228D}" type="presParOf" srcId="{F6F4F82D-4C12-4E69-A4B3-5B778A976893}" destId="{B760740F-A13A-4E4E-8359-836BE1509DA4}" srcOrd="0" destOrd="0" presId="urn:microsoft.com/office/officeart/2008/layout/HorizontalMultiLevelHierarchy"/>
    <dgm:cxn modelId="{E52E92DC-CF8E-4D35-8BDE-343ED2CC516E}" type="presParOf" srcId="{B760740F-A13A-4E4E-8359-836BE1509DA4}" destId="{E89AC762-D133-4897-9122-42A74DB6AD57}" srcOrd="0" destOrd="0" presId="urn:microsoft.com/office/officeart/2008/layout/HorizontalMultiLevelHierarchy"/>
    <dgm:cxn modelId="{ABA1534C-F977-4F85-9279-F4F8A3E899C8}" type="presParOf" srcId="{F6F4F82D-4C12-4E69-A4B3-5B778A976893}" destId="{E08657CA-BC0E-4F05-9E19-D17FCD6E8383}" srcOrd="1" destOrd="0" presId="urn:microsoft.com/office/officeart/2008/layout/HorizontalMultiLevelHierarchy"/>
    <dgm:cxn modelId="{03657F88-B6A5-4A52-A2F8-727066A2479C}" type="presParOf" srcId="{E08657CA-BC0E-4F05-9E19-D17FCD6E8383}" destId="{28439F13-0447-40B0-ABC0-F4B6BAFF497C}" srcOrd="0" destOrd="0" presId="urn:microsoft.com/office/officeart/2008/layout/HorizontalMultiLevelHierarchy"/>
    <dgm:cxn modelId="{4558EC51-170E-4028-8A00-3E8DD4ACD5CC}" type="presParOf" srcId="{E08657CA-BC0E-4F05-9E19-D17FCD6E8383}" destId="{0BD1DB67-119A-4220-84E1-784C969DD94A}" srcOrd="1" destOrd="0" presId="urn:microsoft.com/office/officeart/2008/layout/HorizontalMultiLevelHierarchy"/>
    <dgm:cxn modelId="{DF11313D-6CC3-4BE4-98E0-233435BB7505}" type="presParOf" srcId="{0BD1DB67-119A-4220-84E1-784C969DD94A}" destId="{273A64E4-2733-4169-89BA-12A43FE57B6F}" srcOrd="0" destOrd="0" presId="urn:microsoft.com/office/officeart/2008/layout/HorizontalMultiLevelHierarchy"/>
    <dgm:cxn modelId="{21C884E6-66F8-4696-84B7-E2340C46B5BC}" type="presParOf" srcId="{273A64E4-2733-4169-89BA-12A43FE57B6F}" destId="{1306C4D8-0AE3-4AAC-97C9-98359BC51682}" srcOrd="0" destOrd="0" presId="urn:microsoft.com/office/officeart/2008/layout/HorizontalMultiLevelHierarchy"/>
    <dgm:cxn modelId="{F7E6C9F2-FBEF-4AFC-9872-459577024E8A}" type="presParOf" srcId="{0BD1DB67-119A-4220-84E1-784C969DD94A}" destId="{F9E1B658-A42E-4094-95B9-B0BF245A36B3}" srcOrd="1" destOrd="0" presId="urn:microsoft.com/office/officeart/2008/layout/HorizontalMultiLevelHierarchy"/>
    <dgm:cxn modelId="{A03F4C79-EC5B-4483-9771-4A7BE6219AB1}" type="presParOf" srcId="{F9E1B658-A42E-4094-95B9-B0BF245A36B3}" destId="{7A9A43E4-6F15-41B1-BE5F-71D24894185C}" srcOrd="0" destOrd="0" presId="urn:microsoft.com/office/officeart/2008/layout/HorizontalMultiLevelHierarchy"/>
    <dgm:cxn modelId="{168A232D-9C6A-4EE3-A85B-E6BCACC900D8}" type="presParOf" srcId="{F9E1B658-A42E-4094-95B9-B0BF245A36B3}" destId="{8DC981FB-E47E-492A-AC75-74F41E0EC463}" srcOrd="1" destOrd="0" presId="urn:microsoft.com/office/officeart/2008/layout/HorizontalMultiLevelHierarchy"/>
    <dgm:cxn modelId="{A62B8FB9-BEF5-4482-8D21-8D7747045026}" type="presParOf" srcId="{0BD1DB67-119A-4220-84E1-784C969DD94A}" destId="{3EA69743-5B8C-4E15-B9F2-F4CE05005338}" srcOrd="2" destOrd="0" presId="urn:microsoft.com/office/officeart/2008/layout/HorizontalMultiLevelHierarchy"/>
    <dgm:cxn modelId="{7528516D-4CAE-4A6C-947A-69EC0B9F17C3}" type="presParOf" srcId="{3EA69743-5B8C-4E15-B9F2-F4CE05005338}" destId="{05D6AC35-E890-47ED-8841-F928371B01CB}" srcOrd="0" destOrd="0" presId="urn:microsoft.com/office/officeart/2008/layout/HorizontalMultiLevelHierarchy"/>
    <dgm:cxn modelId="{6B432262-A6AA-45C8-9326-A7F6B5087065}" type="presParOf" srcId="{0BD1DB67-119A-4220-84E1-784C969DD94A}" destId="{EC758BCD-FB62-4094-B855-694F31549D8D}" srcOrd="3" destOrd="0" presId="urn:microsoft.com/office/officeart/2008/layout/HorizontalMultiLevelHierarchy"/>
    <dgm:cxn modelId="{81C6FDDA-9C7E-4697-8D8B-E8D6CD4198EB}" type="presParOf" srcId="{EC758BCD-FB62-4094-B855-694F31549D8D}" destId="{29E49546-84CD-423E-871A-0018FD47A293}" srcOrd="0" destOrd="0" presId="urn:microsoft.com/office/officeart/2008/layout/HorizontalMultiLevelHierarchy"/>
    <dgm:cxn modelId="{D151E6E4-345F-4CAB-88CC-657F6256D754}" type="presParOf" srcId="{EC758BCD-FB62-4094-B855-694F31549D8D}" destId="{DA791E1B-EA2F-444D-8E74-1566DF889B3B}" srcOrd="1" destOrd="0" presId="urn:microsoft.com/office/officeart/2008/layout/HorizontalMultiLevelHierarchy"/>
    <dgm:cxn modelId="{B0C29D7E-C4B4-407D-B836-390B7E45AA0F}" type="presParOf" srcId="{0BD1DB67-119A-4220-84E1-784C969DD94A}" destId="{82BFD7F7-B4D2-42D2-BDA7-BACF81CB569F}" srcOrd="4" destOrd="0" presId="urn:microsoft.com/office/officeart/2008/layout/HorizontalMultiLevelHierarchy"/>
    <dgm:cxn modelId="{0731BF1F-D76E-4052-8A6F-B963FB072AC2}" type="presParOf" srcId="{82BFD7F7-B4D2-42D2-BDA7-BACF81CB569F}" destId="{CAC199C6-99CC-4E67-AD96-AF15DDD29E50}" srcOrd="0" destOrd="0" presId="urn:microsoft.com/office/officeart/2008/layout/HorizontalMultiLevelHierarchy"/>
    <dgm:cxn modelId="{D8A03253-A1AE-4133-A40B-120FF45316DA}" type="presParOf" srcId="{0BD1DB67-119A-4220-84E1-784C969DD94A}" destId="{32B953E4-1B25-4645-B5E9-0094D9DC3B54}" srcOrd="5" destOrd="0" presId="urn:microsoft.com/office/officeart/2008/layout/HorizontalMultiLevelHierarchy"/>
    <dgm:cxn modelId="{FF9867D5-945D-485A-8266-2E8F5ADEF074}" type="presParOf" srcId="{32B953E4-1B25-4645-B5E9-0094D9DC3B54}" destId="{285DDC65-DBCC-4702-ABCB-74D1270C63AC}" srcOrd="0" destOrd="0" presId="urn:microsoft.com/office/officeart/2008/layout/HorizontalMultiLevelHierarchy"/>
    <dgm:cxn modelId="{3C255787-8051-482E-9F29-8AD5E82DD9F5}" type="presParOf" srcId="{32B953E4-1B25-4645-B5E9-0094D9DC3B54}" destId="{B9EB0D2C-54AB-4573-B5F0-C15CF4D2031C}" srcOrd="1" destOrd="0" presId="urn:microsoft.com/office/officeart/2008/layout/HorizontalMultiLevelHierarchy"/>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07AFA0C-C5D7-4367-B72F-9995DC652BC4}"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en-US"/>
        </a:p>
      </dgm:t>
    </dgm:pt>
    <dgm:pt modelId="{6CA75B29-9673-46EC-8E34-8E4F8CF6E4FF}">
      <dgm:prSet phldrT="[Text]" custT="1"/>
      <dgm:spPr/>
      <dgm:t>
        <a:bodyPr/>
        <a:lstStyle/>
        <a:p>
          <a:pPr algn="ctr"/>
          <a:r>
            <a:rPr lang="en-US" sz="1800">
              <a:solidFill>
                <a:srgbClr val="4A4A4A"/>
              </a:solidFill>
            </a:rPr>
            <a:t>Awaiting Berthing</a:t>
          </a:r>
          <a:endParaRPr lang="en-US" sz="1800" dirty="0">
            <a:solidFill>
              <a:srgbClr val="4A4A4A"/>
            </a:solidFill>
          </a:endParaRPr>
        </a:p>
      </dgm:t>
    </dgm:pt>
    <dgm:pt modelId="{5D9791D1-2DE4-4F16-A48F-458343A879E1}" type="parTrans" cxnId="{F237E090-58A8-4C2B-AE23-ACAF7721C92B}">
      <dgm:prSet/>
      <dgm:spPr/>
      <dgm:t>
        <a:bodyPr/>
        <a:lstStyle/>
        <a:p>
          <a:pPr algn="ctr"/>
          <a:endParaRPr lang="en-US" sz="600">
            <a:solidFill>
              <a:srgbClr val="4A4A4A"/>
            </a:solidFill>
          </a:endParaRPr>
        </a:p>
      </dgm:t>
    </dgm:pt>
    <dgm:pt modelId="{F9AE63BF-A3E8-4124-BF94-A8208570FBA7}" type="sibTrans" cxnId="{F237E090-58A8-4C2B-AE23-ACAF7721C92B}">
      <dgm:prSet/>
      <dgm:spPr/>
      <dgm:t>
        <a:bodyPr/>
        <a:lstStyle/>
        <a:p>
          <a:pPr algn="ctr"/>
          <a:endParaRPr lang="en-US" sz="600">
            <a:solidFill>
              <a:srgbClr val="4A4A4A"/>
            </a:solidFill>
          </a:endParaRPr>
        </a:p>
      </dgm:t>
    </dgm:pt>
    <dgm:pt modelId="{C10DCD7A-705F-4E7F-86FA-144D25B4E59F}">
      <dgm:prSet phldrT="[Text]" custT="1"/>
      <dgm:spPr/>
      <dgm:t>
        <a:bodyPr/>
        <a:lstStyle/>
        <a:p>
          <a:pPr algn="ctr"/>
          <a:r>
            <a:rPr lang="en-US" sz="1000">
              <a:solidFill>
                <a:srgbClr val="4A4A4A"/>
              </a:solidFill>
            </a:rPr>
            <a:t>Grommet entanglement</a:t>
          </a:r>
          <a:endParaRPr lang="en-US" sz="1000" dirty="0">
            <a:solidFill>
              <a:srgbClr val="4A4A4A"/>
            </a:solidFill>
          </a:endParaRPr>
        </a:p>
      </dgm:t>
    </dgm:pt>
    <dgm:pt modelId="{F7252005-0D7B-4492-A4B5-642676C151E9}" type="parTrans" cxnId="{8210BBB5-C780-4860-BD72-D530C4AC8FE9}">
      <dgm:prSet custT="1"/>
      <dgm:spPr/>
      <dgm:t>
        <a:bodyPr/>
        <a:lstStyle/>
        <a:p>
          <a:pPr algn="ctr"/>
          <a:endParaRPr lang="en-US" sz="600">
            <a:solidFill>
              <a:srgbClr val="4A4A4A"/>
            </a:solidFill>
          </a:endParaRPr>
        </a:p>
      </dgm:t>
    </dgm:pt>
    <dgm:pt modelId="{847351E0-AE8A-4936-A9E8-37C432DEDF47}" type="sibTrans" cxnId="{8210BBB5-C780-4860-BD72-D530C4AC8FE9}">
      <dgm:prSet/>
      <dgm:spPr/>
      <dgm:t>
        <a:bodyPr/>
        <a:lstStyle/>
        <a:p>
          <a:pPr algn="ctr"/>
          <a:endParaRPr lang="en-US" sz="600">
            <a:solidFill>
              <a:srgbClr val="4A4A4A"/>
            </a:solidFill>
          </a:endParaRPr>
        </a:p>
      </dgm:t>
    </dgm:pt>
    <dgm:pt modelId="{8AE726B4-D4F7-47BF-9CBB-8EAC45BFDAC7}">
      <dgm:prSet custT="1"/>
      <dgm:spPr/>
      <dgm:t>
        <a:bodyPr/>
        <a:lstStyle/>
        <a:p>
          <a:pPr algn="ctr"/>
          <a:r>
            <a:rPr lang="en-US" sz="1000">
              <a:solidFill>
                <a:srgbClr val="4A4A4A"/>
              </a:solidFill>
            </a:rPr>
            <a:t>Support vessels propellers getting entangled with hawser</a:t>
          </a:r>
          <a:endParaRPr lang="en-US" sz="1000" dirty="0">
            <a:solidFill>
              <a:srgbClr val="4A4A4A"/>
            </a:solidFill>
          </a:endParaRPr>
        </a:p>
      </dgm:t>
    </dgm:pt>
    <dgm:pt modelId="{5CE4FEA0-5412-4531-9C91-38A14BA230FD}" type="parTrans" cxnId="{169F3EBC-69A8-47EF-A23C-863D9E7B7ECE}">
      <dgm:prSet custT="1"/>
      <dgm:spPr/>
      <dgm:t>
        <a:bodyPr/>
        <a:lstStyle/>
        <a:p>
          <a:pPr algn="ctr"/>
          <a:endParaRPr lang="en-US" sz="600">
            <a:solidFill>
              <a:srgbClr val="4A4A4A"/>
            </a:solidFill>
          </a:endParaRPr>
        </a:p>
      </dgm:t>
    </dgm:pt>
    <dgm:pt modelId="{55ACB9FB-D11C-4F93-ACFB-AD7A06B2AEA0}" type="sibTrans" cxnId="{169F3EBC-69A8-47EF-A23C-863D9E7B7ECE}">
      <dgm:prSet/>
      <dgm:spPr/>
      <dgm:t>
        <a:bodyPr/>
        <a:lstStyle/>
        <a:p>
          <a:pPr algn="ctr"/>
          <a:endParaRPr lang="en-US" sz="600">
            <a:solidFill>
              <a:srgbClr val="4A4A4A"/>
            </a:solidFill>
          </a:endParaRPr>
        </a:p>
      </dgm:t>
    </dgm:pt>
    <dgm:pt modelId="{A5190D3C-1653-4748-B7FB-567C645710BD}">
      <dgm:prSet custT="1"/>
      <dgm:spPr/>
      <dgm:t>
        <a:bodyPr/>
        <a:lstStyle/>
        <a:p>
          <a:pPr algn="ctr"/>
          <a:r>
            <a:rPr lang="en-US" sz="1000">
              <a:solidFill>
                <a:srgbClr val="4A4A4A"/>
              </a:solidFill>
            </a:rPr>
            <a:t>Delayed Tanker Inward clearance.</a:t>
          </a:r>
          <a:endParaRPr lang="en-US" sz="1000" dirty="0">
            <a:solidFill>
              <a:srgbClr val="4A4A4A"/>
            </a:solidFill>
          </a:endParaRPr>
        </a:p>
      </dgm:t>
    </dgm:pt>
    <dgm:pt modelId="{BDA1CDFE-67C9-49B3-BB47-A4AB53D1D09B}" type="parTrans" cxnId="{27954754-44A9-4F55-8532-6A9E011ACDC8}">
      <dgm:prSet custT="1"/>
      <dgm:spPr/>
      <dgm:t>
        <a:bodyPr/>
        <a:lstStyle/>
        <a:p>
          <a:pPr algn="ctr"/>
          <a:endParaRPr lang="en-US" sz="600">
            <a:solidFill>
              <a:srgbClr val="4A4A4A"/>
            </a:solidFill>
          </a:endParaRPr>
        </a:p>
      </dgm:t>
    </dgm:pt>
    <dgm:pt modelId="{229EC256-333A-4540-8792-062C883DDB10}" type="sibTrans" cxnId="{27954754-44A9-4F55-8532-6A9E011ACDC8}">
      <dgm:prSet/>
      <dgm:spPr/>
      <dgm:t>
        <a:bodyPr/>
        <a:lstStyle/>
        <a:p>
          <a:pPr algn="ctr"/>
          <a:endParaRPr lang="en-US" sz="600">
            <a:solidFill>
              <a:srgbClr val="4A4A4A"/>
            </a:solidFill>
          </a:endParaRPr>
        </a:p>
      </dgm:t>
    </dgm:pt>
    <dgm:pt modelId="{59D52A10-7408-4E18-B768-5B1862BC1221}">
      <dgm:prSet phldrT="[Text]" custT="1"/>
      <dgm:spPr/>
      <dgm:t>
        <a:bodyPr/>
        <a:lstStyle/>
        <a:p>
          <a:pPr algn="ctr"/>
          <a:r>
            <a:rPr lang="en-US" sz="1000">
              <a:solidFill>
                <a:srgbClr val="4A4A4A"/>
              </a:solidFill>
            </a:rPr>
            <a:t>Daylight Constraints</a:t>
          </a:r>
          <a:endParaRPr lang="en-US" sz="1000" dirty="0">
            <a:solidFill>
              <a:srgbClr val="4A4A4A"/>
            </a:solidFill>
          </a:endParaRPr>
        </a:p>
      </dgm:t>
    </dgm:pt>
    <dgm:pt modelId="{25BCA4B3-FA12-44D9-9546-E84E82609CE4}" type="parTrans" cxnId="{AB4C7E63-C725-461D-A811-1E88B5AF3F72}">
      <dgm:prSet custT="1"/>
      <dgm:spPr/>
      <dgm:t>
        <a:bodyPr/>
        <a:lstStyle/>
        <a:p>
          <a:pPr algn="ctr"/>
          <a:endParaRPr lang="en-US" sz="600">
            <a:solidFill>
              <a:srgbClr val="4A4A4A"/>
            </a:solidFill>
          </a:endParaRPr>
        </a:p>
      </dgm:t>
    </dgm:pt>
    <dgm:pt modelId="{DCED5760-7848-4224-A88D-CB5C751FDB76}" type="sibTrans" cxnId="{AB4C7E63-C725-461D-A811-1E88B5AF3F72}">
      <dgm:prSet/>
      <dgm:spPr/>
      <dgm:t>
        <a:bodyPr/>
        <a:lstStyle/>
        <a:p>
          <a:pPr algn="ctr"/>
          <a:endParaRPr lang="en-US" sz="600">
            <a:solidFill>
              <a:srgbClr val="4A4A4A"/>
            </a:solidFill>
          </a:endParaRPr>
        </a:p>
      </dgm:t>
    </dgm:pt>
    <dgm:pt modelId="{5A63E263-BFA8-4328-B8D0-C66651AE285E}">
      <dgm:prSet phldrT="[Text]" custT="1"/>
      <dgm:spPr/>
      <dgm:t>
        <a:bodyPr/>
        <a:lstStyle/>
        <a:p>
          <a:pPr algn="ctr"/>
          <a:r>
            <a:rPr lang="en-US" sz="1000">
              <a:solidFill>
                <a:srgbClr val="4A4A4A"/>
              </a:solidFill>
            </a:rPr>
            <a:t>Berth occupied</a:t>
          </a:r>
          <a:endParaRPr lang="en-US" sz="1000" dirty="0">
            <a:solidFill>
              <a:srgbClr val="4A4A4A"/>
            </a:solidFill>
          </a:endParaRPr>
        </a:p>
      </dgm:t>
    </dgm:pt>
    <dgm:pt modelId="{2FD2CDF8-DAFE-45FE-8E70-7C3E037846AF}" type="parTrans" cxnId="{8C1791C6-9729-498E-95A3-E254580FABBC}">
      <dgm:prSet custT="1"/>
      <dgm:spPr/>
      <dgm:t>
        <a:bodyPr/>
        <a:lstStyle/>
        <a:p>
          <a:pPr algn="ctr"/>
          <a:endParaRPr lang="en-US" sz="600">
            <a:solidFill>
              <a:srgbClr val="4A4A4A"/>
            </a:solidFill>
          </a:endParaRPr>
        </a:p>
      </dgm:t>
    </dgm:pt>
    <dgm:pt modelId="{9C43C614-A292-4EBD-A620-1194FC93DE6D}" type="sibTrans" cxnId="{8C1791C6-9729-498E-95A3-E254580FABBC}">
      <dgm:prSet/>
      <dgm:spPr/>
      <dgm:t>
        <a:bodyPr/>
        <a:lstStyle/>
        <a:p>
          <a:pPr algn="ctr"/>
          <a:endParaRPr lang="en-US" sz="600">
            <a:solidFill>
              <a:srgbClr val="4A4A4A"/>
            </a:solidFill>
          </a:endParaRPr>
        </a:p>
      </dgm:t>
    </dgm:pt>
    <dgm:pt modelId="{E2C27B8E-6623-45FC-BF6D-685B79F7B60C}">
      <dgm:prSet phldrT="[Text]" custT="1"/>
      <dgm:spPr/>
      <dgm:t>
        <a:bodyPr/>
        <a:lstStyle/>
        <a:p>
          <a:pPr algn="ctr"/>
          <a:r>
            <a:rPr lang="en-US" sz="1000">
              <a:solidFill>
                <a:srgbClr val="4A4A4A"/>
              </a:solidFill>
            </a:rPr>
            <a:t>Adverse weather condition/wave action</a:t>
          </a:r>
          <a:endParaRPr lang="en-US" sz="1000" dirty="0">
            <a:solidFill>
              <a:srgbClr val="4A4A4A"/>
            </a:solidFill>
          </a:endParaRPr>
        </a:p>
      </dgm:t>
    </dgm:pt>
    <dgm:pt modelId="{32503472-A971-4593-980B-EC40785E2E86}" type="parTrans" cxnId="{63BDE367-8648-4487-9E4B-6C6B95715EAD}">
      <dgm:prSet custT="1"/>
      <dgm:spPr/>
      <dgm:t>
        <a:bodyPr/>
        <a:lstStyle/>
        <a:p>
          <a:pPr algn="ctr"/>
          <a:endParaRPr lang="en-US" sz="600">
            <a:solidFill>
              <a:srgbClr val="4A4A4A"/>
            </a:solidFill>
          </a:endParaRPr>
        </a:p>
      </dgm:t>
    </dgm:pt>
    <dgm:pt modelId="{02B8112D-7506-40A5-910B-F58FDF70F08E}" type="sibTrans" cxnId="{63BDE367-8648-4487-9E4B-6C6B95715EAD}">
      <dgm:prSet/>
      <dgm:spPr/>
      <dgm:t>
        <a:bodyPr/>
        <a:lstStyle/>
        <a:p>
          <a:pPr algn="ctr"/>
          <a:endParaRPr lang="en-US" sz="600">
            <a:solidFill>
              <a:srgbClr val="4A4A4A"/>
            </a:solidFill>
          </a:endParaRPr>
        </a:p>
      </dgm:t>
    </dgm:pt>
    <dgm:pt modelId="{30A1C8CB-ED4D-4C1A-B0BF-D93BAB884117}">
      <dgm:prSet custT="1"/>
      <dgm:spPr/>
      <dgm:t>
        <a:bodyPr/>
        <a:lstStyle/>
        <a:p>
          <a:pPr algn="ctr"/>
          <a:r>
            <a:rPr lang="en-US" sz="1000">
              <a:solidFill>
                <a:srgbClr val="4A4A4A"/>
              </a:solidFill>
            </a:rPr>
            <a:t>Line handling during mooring ops</a:t>
          </a:r>
          <a:endParaRPr lang="en-US" sz="1000" dirty="0">
            <a:solidFill>
              <a:srgbClr val="4A4A4A"/>
            </a:solidFill>
          </a:endParaRPr>
        </a:p>
      </dgm:t>
    </dgm:pt>
    <dgm:pt modelId="{DF78943F-8856-475B-A0BC-8BD59FBB01FF}" type="parTrans" cxnId="{73E750A1-C5A7-437C-BA87-9233C846F64E}">
      <dgm:prSet custT="1"/>
      <dgm:spPr/>
      <dgm:t>
        <a:bodyPr/>
        <a:lstStyle/>
        <a:p>
          <a:pPr algn="ctr"/>
          <a:endParaRPr lang="en-US" sz="600">
            <a:solidFill>
              <a:srgbClr val="4A4A4A"/>
            </a:solidFill>
          </a:endParaRPr>
        </a:p>
      </dgm:t>
    </dgm:pt>
    <dgm:pt modelId="{62EF9020-6527-4AE0-88C0-7D65D8FC0EC1}" type="sibTrans" cxnId="{73E750A1-C5A7-437C-BA87-9233C846F64E}">
      <dgm:prSet/>
      <dgm:spPr/>
      <dgm:t>
        <a:bodyPr/>
        <a:lstStyle/>
        <a:p>
          <a:pPr algn="ctr"/>
          <a:endParaRPr lang="en-US" sz="600">
            <a:solidFill>
              <a:srgbClr val="4A4A4A"/>
            </a:solidFill>
          </a:endParaRPr>
        </a:p>
      </dgm:t>
    </dgm:pt>
    <dgm:pt modelId="{02883DD9-727D-411A-8AE6-C681F325D7FE}">
      <dgm:prSet custT="1"/>
      <dgm:spPr/>
      <dgm:t>
        <a:bodyPr/>
        <a:lstStyle/>
        <a:p>
          <a:pPr algn="ctr"/>
          <a:r>
            <a:rPr lang="en-US" sz="1000">
              <a:solidFill>
                <a:srgbClr val="4A4A4A"/>
              </a:solidFill>
            </a:rPr>
            <a:t>Human error during mooring ops</a:t>
          </a:r>
          <a:endParaRPr lang="en-US" sz="1000" dirty="0">
            <a:solidFill>
              <a:srgbClr val="4A4A4A"/>
            </a:solidFill>
          </a:endParaRPr>
        </a:p>
      </dgm:t>
    </dgm:pt>
    <dgm:pt modelId="{E91E9CC3-A829-4395-A0DD-D3C3412A5B1F}" type="parTrans" cxnId="{972489C3-4050-4389-8BCC-7294847E57D9}">
      <dgm:prSet custT="1"/>
      <dgm:spPr/>
      <dgm:t>
        <a:bodyPr/>
        <a:lstStyle/>
        <a:p>
          <a:pPr algn="ctr"/>
          <a:endParaRPr lang="en-US" sz="600">
            <a:solidFill>
              <a:srgbClr val="4A4A4A"/>
            </a:solidFill>
          </a:endParaRPr>
        </a:p>
      </dgm:t>
    </dgm:pt>
    <dgm:pt modelId="{F093CB94-F469-4041-AC46-033813606AFE}" type="sibTrans" cxnId="{972489C3-4050-4389-8BCC-7294847E57D9}">
      <dgm:prSet/>
      <dgm:spPr/>
      <dgm:t>
        <a:bodyPr/>
        <a:lstStyle/>
        <a:p>
          <a:pPr algn="ctr"/>
          <a:endParaRPr lang="en-US" sz="600">
            <a:solidFill>
              <a:srgbClr val="4A4A4A"/>
            </a:solidFill>
          </a:endParaRPr>
        </a:p>
      </dgm:t>
    </dgm:pt>
    <dgm:pt modelId="{77A83BA2-1D99-4AE8-9794-C2C53B49A546}">
      <dgm:prSet custT="1"/>
      <dgm:spPr/>
      <dgm:t>
        <a:bodyPr/>
        <a:lstStyle/>
        <a:p>
          <a:pPr algn="ctr"/>
          <a:r>
            <a:rPr lang="en-US" sz="1000">
              <a:solidFill>
                <a:srgbClr val="4A4A4A"/>
              </a:solidFill>
            </a:rPr>
            <a:t>Adverse weather condition.</a:t>
          </a:r>
          <a:endParaRPr lang="en-US" sz="1000" dirty="0">
            <a:solidFill>
              <a:srgbClr val="4A4A4A"/>
            </a:solidFill>
          </a:endParaRPr>
        </a:p>
      </dgm:t>
    </dgm:pt>
    <dgm:pt modelId="{368BC393-302F-4E8D-A694-5FEE3C8156A9}" type="parTrans" cxnId="{A48C0877-4E2E-4EE6-8C0F-B1B563568318}">
      <dgm:prSet custT="1"/>
      <dgm:spPr/>
      <dgm:t>
        <a:bodyPr/>
        <a:lstStyle/>
        <a:p>
          <a:pPr algn="ctr"/>
          <a:endParaRPr lang="en-US" sz="600">
            <a:solidFill>
              <a:srgbClr val="4A4A4A"/>
            </a:solidFill>
          </a:endParaRPr>
        </a:p>
      </dgm:t>
    </dgm:pt>
    <dgm:pt modelId="{DF971780-5934-4D74-8CD6-74A92C6C7AFD}" type="sibTrans" cxnId="{A48C0877-4E2E-4EE6-8C0F-B1B563568318}">
      <dgm:prSet/>
      <dgm:spPr/>
      <dgm:t>
        <a:bodyPr/>
        <a:lstStyle/>
        <a:p>
          <a:pPr algn="ctr"/>
          <a:endParaRPr lang="en-US" sz="600">
            <a:solidFill>
              <a:srgbClr val="4A4A4A"/>
            </a:solidFill>
          </a:endParaRPr>
        </a:p>
      </dgm:t>
    </dgm:pt>
    <dgm:pt modelId="{0F2E5027-9B0F-4B35-A34B-3D1CC270CE82}">
      <dgm:prSet custT="1"/>
      <dgm:spPr/>
      <dgm:t>
        <a:bodyPr/>
        <a:lstStyle/>
        <a:p>
          <a:pPr algn="ctr"/>
          <a:r>
            <a:rPr lang="en-US" sz="1000">
              <a:solidFill>
                <a:srgbClr val="4A4A4A"/>
              </a:solidFill>
            </a:rPr>
            <a:t>Unavailability of PC to convey officials to embark/disembark vessel.</a:t>
          </a:r>
          <a:endParaRPr lang="en-US" sz="1000" dirty="0">
            <a:solidFill>
              <a:srgbClr val="4A4A4A"/>
            </a:solidFill>
          </a:endParaRPr>
        </a:p>
      </dgm:t>
    </dgm:pt>
    <dgm:pt modelId="{F6147454-B1C9-461C-AEAE-FD2318D6451F}" type="parTrans" cxnId="{7A8CE67F-D9E8-475D-BFA2-B4BE7CC966D5}">
      <dgm:prSet custT="1"/>
      <dgm:spPr/>
      <dgm:t>
        <a:bodyPr/>
        <a:lstStyle/>
        <a:p>
          <a:pPr algn="ctr"/>
          <a:endParaRPr lang="en-US" sz="600">
            <a:solidFill>
              <a:srgbClr val="4A4A4A"/>
            </a:solidFill>
          </a:endParaRPr>
        </a:p>
      </dgm:t>
    </dgm:pt>
    <dgm:pt modelId="{FB26B502-28B6-4ABA-A6C9-FD62393DF758}" type="sibTrans" cxnId="{7A8CE67F-D9E8-475D-BFA2-B4BE7CC966D5}">
      <dgm:prSet/>
      <dgm:spPr/>
      <dgm:t>
        <a:bodyPr/>
        <a:lstStyle/>
        <a:p>
          <a:pPr algn="ctr"/>
          <a:endParaRPr lang="en-US" sz="600">
            <a:solidFill>
              <a:srgbClr val="4A4A4A"/>
            </a:solidFill>
          </a:endParaRPr>
        </a:p>
      </dgm:t>
    </dgm:pt>
    <dgm:pt modelId="{F337BB20-7C4E-4D2C-AC3F-0494DC682F86}">
      <dgm:prSet custT="1"/>
      <dgm:spPr/>
      <dgm:t>
        <a:bodyPr/>
        <a:lstStyle/>
        <a:p>
          <a:pPr algn="ctr"/>
          <a:r>
            <a:rPr lang="en-US" sz="1000">
              <a:solidFill>
                <a:srgbClr val="4A4A4A"/>
              </a:solidFill>
            </a:rPr>
            <a:t>Adverse weather</a:t>
          </a:r>
          <a:endParaRPr lang="en-US" sz="1000" dirty="0">
            <a:solidFill>
              <a:srgbClr val="4A4A4A"/>
            </a:solidFill>
          </a:endParaRPr>
        </a:p>
      </dgm:t>
    </dgm:pt>
    <dgm:pt modelId="{A1169F5C-DFCC-4BD1-B4D3-EF1A0E191E13}" type="parTrans" cxnId="{9F10EDB4-2C9C-46D1-90DF-49165B258EAD}">
      <dgm:prSet custT="1"/>
      <dgm:spPr/>
      <dgm:t>
        <a:bodyPr/>
        <a:lstStyle/>
        <a:p>
          <a:pPr algn="ctr"/>
          <a:endParaRPr lang="en-US" sz="600">
            <a:solidFill>
              <a:srgbClr val="4A4A4A"/>
            </a:solidFill>
          </a:endParaRPr>
        </a:p>
      </dgm:t>
    </dgm:pt>
    <dgm:pt modelId="{82F3AAF0-5965-4569-B6FB-79EC6EB7B4AE}" type="sibTrans" cxnId="{9F10EDB4-2C9C-46D1-90DF-49165B258EAD}">
      <dgm:prSet/>
      <dgm:spPr/>
      <dgm:t>
        <a:bodyPr/>
        <a:lstStyle/>
        <a:p>
          <a:pPr algn="ctr"/>
          <a:endParaRPr lang="en-US" sz="600">
            <a:solidFill>
              <a:srgbClr val="4A4A4A"/>
            </a:solidFill>
          </a:endParaRPr>
        </a:p>
      </dgm:t>
    </dgm:pt>
    <dgm:pt modelId="{756D261A-F34D-43DF-8BE9-55EF4B849F14}">
      <dgm:prSet custT="1"/>
      <dgm:spPr/>
      <dgm:t>
        <a:bodyPr/>
        <a:lstStyle/>
        <a:p>
          <a:pPr algn="ctr"/>
          <a:r>
            <a:rPr lang="en-US" sz="1000">
              <a:solidFill>
                <a:srgbClr val="4A4A4A"/>
              </a:solidFill>
            </a:rPr>
            <a:t>Limited experience/capability of vessel captain.</a:t>
          </a:r>
          <a:endParaRPr lang="en-US" sz="1000" dirty="0">
            <a:solidFill>
              <a:srgbClr val="4A4A4A"/>
            </a:solidFill>
          </a:endParaRPr>
        </a:p>
      </dgm:t>
    </dgm:pt>
    <dgm:pt modelId="{E75602A5-AA1E-4EA6-A090-4F8B4C263E1A}" type="parTrans" cxnId="{2FE2E3A7-19CC-4598-9E66-2D4150D03E4A}">
      <dgm:prSet custT="1"/>
      <dgm:spPr/>
      <dgm:t>
        <a:bodyPr/>
        <a:lstStyle/>
        <a:p>
          <a:pPr algn="ctr"/>
          <a:endParaRPr lang="en-US" sz="600">
            <a:solidFill>
              <a:srgbClr val="4A4A4A"/>
            </a:solidFill>
          </a:endParaRPr>
        </a:p>
      </dgm:t>
    </dgm:pt>
    <dgm:pt modelId="{00A23E62-802E-4B1F-A0B6-935D4B4541E4}" type="sibTrans" cxnId="{2FE2E3A7-19CC-4598-9E66-2D4150D03E4A}">
      <dgm:prSet/>
      <dgm:spPr/>
      <dgm:t>
        <a:bodyPr/>
        <a:lstStyle/>
        <a:p>
          <a:pPr algn="ctr"/>
          <a:endParaRPr lang="en-US" sz="600">
            <a:solidFill>
              <a:srgbClr val="4A4A4A"/>
            </a:solidFill>
          </a:endParaRPr>
        </a:p>
      </dgm:t>
    </dgm:pt>
    <dgm:pt modelId="{444DD194-6BF1-4584-AABD-18574447A3A5}">
      <dgm:prSet custT="1"/>
      <dgm:spPr/>
      <dgm:t>
        <a:bodyPr/>
        <a:lstStyle/>
        <a:p>
          <a:pPr algn="ctr"/>
          <a:r>
            <a:rPr lang="en-US" sz="1000">
              <a:solidFill>
                <a:srgbClr val="4A4A4A"/>
              </a:solidFill>
            </a:rPr>
            <a:t>Limited experience/capability of vessel captain.</a:t>
          </a:r>
          <a:endParaRPr lang="en-US" sz="1000" dirty="0">
            <a:solidFill>
              <a:srgbClr val="4A4A4A"/>
            </a:solidFill>
          </a:endParaRPr>
        </a:p>
      </dgm:t>
    </dgm:pt>
    <dgm:pt modelId="{FE4593CF-C13F-4256-BA07-105D3ACE2763}" type="parTrans" cxnId="{69411F18-9A88-40A5-8B34-C98A70D35A8E}">
      <dgm:prSet custT="1"/>
      <dgm:spPr/>
      <dgm:t>
        <a:bodyPr/>
        <a:lstStyle/>
        <a:p>
          <a:pPr algn="ctr"/>
          <a:endParaRPr lang="en-US" sz="600">
            <a:solidFill>
              <a:srgbClr val="4A4A4A"/>
            </a:solidFill>
          </a:endParaRPr>
        </a:p>
      </dgm:t>
    </dgm:pt>
    <dgm:pt modelId="{FDEBBC77-C171-432B-A3D7-6EED7FD1519B}" type="sibTrans" cxnId="{69411F18-9A88-40A5-8B34-C98A70D35A8E}">
      <dgm:prSet/>
      <dgm:spPr/>
      <dgm:t>
        <a:bodyPr/>
        <a:lstStyle/>
        <a:p>
          <a:pPr algn="ctr"/>
          <a:endParaRPr lang="en-US" sz="600">
            <a:solidFill>
              <a:srgbClr val="4A4A4A"/>
            </a:solidFill>
          </a:endParaRPr>
        </a:p>
      </dgm:t>
    </dgm:pt>
    <dgm:pt modelId="{70836529-46A5-4653-9BD3-713D24F5881E}">
      <dgm:prSet custT="1"/>
      <dgm:spPr/>
      <dgm:t>
        <a:bodyPr/>
        <a:lstStyle/>
        <a:p>
          <a:pPr algn="ctr"/>
          <a:r>
            <a:rPr lang="en-US" sz="1000">
              <a:solidFill>
                <a:srgbClr val="4A4A4A"/>
              </a:solidFill>
            </a:rPr>
            <a:t>Activities requiring PC movement is subject to arduous scheduling with little flexibility.</a:t>
          </a:r>
        </a:p>
        <a:p>
          <a:pPr algn="ctr"/>
          <a:r>
            <a:rPr lang="en-US" sz="1000">
              <a:solidFill>
                <a:srgbClr val="4A4A4A"/>
              </a:solidFill>
            </a:rPr>
            <a:t>When the sole PC is reassigned to other activities based on prioritization, this has resulted in delayed disembarking of officials with resultant delay in tanker inward clearance.</a:t>
          </a:r>
          <a:endParaRPr lang="en-US" sz="1000" dirty="0">
            <a:solidFill>
              <a:srgbClr val="4A4A4A"/>
            </a:solidFill>
          </a:endParaRPr>
        </a:p>
      </dgm:t>
    </dgm:pt>
    <dgm:pt modelId="{A3035F28-9FA5-4C36-A832-A770FBF1845A}" type="parTrans" cxnId="{514FE8ED-23F8-4372-BA88-67448B0C7CD8}">
      <dgm:prSet custT="1"/>
      <dgm:spPr/>
      <dgm:t>
        <a:bodyPr/>
        <a:lstStyle/>
        <a:p>
          <a:pPr algn="ctr"/>
          <a:endParaRPr lang="en-US" sz="600">
            <a:solidFill>
              <a:srgbClr val="4A4A4A"/>
            </a:solidFill>
          </a:endParaRPr>
        </a:p>
      </dgm:t>
    </dgm:pt>
    <dgm:pt modelId="{53E57187-A353-41DB-8FBC-16CCECE59A8F}" type="sibTrans" cxnId="{514FE8ED-23F8-4372-BA88-67448B0C7CD8}">
      <dgm:prSet/>
      <dgm:spPr/>
      <dgm:t>
        <a:bodyPr/>
        <a:lstStyle/>
        <a:p>
          <a:pPr algn="ctr"/>
          <a:endParaRPr lang="en-US" sz="600">
            <a:solidFill>
              <a:srgbClr val="4A4A4A"/>
            </a:solidFill>
          </a:endParaRPr>
        </a:p>
      </dgm:t>
    </dgm:pt>
    <dgm:pt modelId="{4EAF11C9-93B7-4C13-9968-0074A814F253}">
      <dgm:prSet custT="1"/>
      <dgm:spPr/>
      <dgm:t>
        <a:bodyPr/>
        <a:lstStyle/>
        <a:p>
          <a:pPr algn="ctr"/>
          <a:r>
            <a:rPr lang="en-US" sz="1000">
              <a:solidFill>
                <a:srgbClr val="4A4A4A"/>
              </a:solidFill>
            </a:rPr>
            <a:t>Unable to berth on TCMS or SBM during adverse weather conditions beyond permissible limits</a:t>
          </a:r>
          <a:endParaRPr lang="en-US" sz="1000" dirty="0">
            <a:solidFill>
              <a:srgbClr val="4A4A4A"/>
            </a:solidFill>
          </a:endParaRPr>
        </a:p>
      </dgm:t>
    </dgm:pt>
    <dgm:pt modelId="{76DDFF82-3ACD-450D-8742-C73130A4CE78}" type="parTrans" cxnId="{A4F7A2F3-94E8-4148-8954-1E3C00CC9CD2}">
      <dgm:prSet custT="1"/>
      <dgm:spPr/>
      <dgm:t>
        <a:bodyPr/>
        <a:lstStyle/>
        <a:p>
          <a:pPr algn="ctr"/>
          <a:endParaRPr lang="en-US" sz="600">
            <a:solidFill>
              <a:srgbClr val="4A4A4A"/>
            </a:solidFill>
          </a:endParaRPr>
        </a:p>
      </dgm:t>
    </dgm:pt>
    <dgm:pt modelId="{09A73ECF-7289-489C-B563-9CFCB8C4A8BE}" type="sibTrans" cxnId="{A4F7A2F3-94E8-4148-8954-1E3C00CC9CD2}">
      <dgm:prSet/>
      <dgm:spPr/>
      <dgm:t>
        <a:bodyPr/>
        <a:lstStyle/>
        <a:p>
          <a:pPr algn="ctr"/>
          <a:endParaRPr lang="en-US" sz="600">
            <a:solidFill>
              <a:srgbClr val="4A4A4A"/>
            </a:solidFill>
          </a:endParaRPr>
        </a:p>
      </dgm:t>
    </dgm:pt>
    <dgm:pt modelId="{F5C02462-80CC-405C-B1F5-1E2FE75EA829}">
      <dgm:prSet phldrT="[Text]" custT="1"/>
      <dgm:spPr/>
      <dgm:t>
        <a:bodyPr/>
        <a:lstStyle/>
        <a:p>
          <a:pPr algn="ctr"/>
          <a:r>
            <a:rPr lang="en-US" sz="1000">
              <a:solidFill>
                <a:srgbClr val="4A4A4A"/>
              </a:solidFill>
            </a:rPr>
            <a:t>Terminals are set up contractually as 24hr. Ship can tender Notice of Readiness at any time within the laycan.</a:t>
          </a:r>
          <a:endParaRPr lang="en-US" sz="1000" dirty="0">
            <a:solidFill>
              <a:srgbClr val="4A4A4A"/>
            </a:solidFill>
          </a:endParaRPr>
        </a:p>
      </dgm:t>
    </dgm:pt>
    <dgm:pt modelId="{C5299E4E-BD96-4595-BE34-EFC808AA5181}" type="parTrans" cxnId="{495DFF91-BCE0-4774-A959-C3074EA3A5F0}">
      <dgm:prSet custT="1"/>
      <dgm:spPr/>
      <dgm:t>
        <a:bodyPr/>
        <a:lstStyle/>
        <a:p>
          <a:pPr algn="ctr"/>
          <a:endParaRPr lang="en-US" sz="600">
            <a:solidFill>
              <a:srgbClr val="4A4A4A"/>
            </a:solidFill>
          </a:endParaRPr>
        </a:p>
      </dgm:t>
    </dgm:pt>
    <dgm:pt modelId="{CF3CA44D-9F91-47DF-AA3C-A0D7C972BDA4}" type="sibTrans" cxnId="{495DFF91-BCE0-4774-A959-C3074EA3A5F0}">
      <dgm:prSet/>
      <dgm:spPr/>
      <dgm:t>
        <a:bodyPr/>
        <a:lstStyle/>
        <a:p>
          <a:pPr algn="ctr"/>
          <a:endParaRPr lang="en-US" sz="600">
            <a:solidFill>
              <a:srgbClr val="4A4A4A"/>
            </a:solidFill>
          </a:endParaRPr>
        </a:p>
      </dgm:t>
    </dgm:pt>
    <dgm:pt modelId="{6186BB24-D4A6-4459-9F22-15BE46312764}">
      <dgm:prSet phldrT="[Text]" custT="1"/>
      <dgm:spPr/>
      <dgm:t>
        <a:bodyPr/>
        <a:lstStyle/>
        <a:p>
          <a:pPr algn="ctr"/>
          <a:r>
            <a:rPr lang="en-US" sz="800">
              <a:solidFill>
                <a:srgbClr val="4A4A4A"/>
              </a:solidFill>
            </a:rPr>
            <a:t>Disruption of tanker schedule for all other previous causes.</a:t>
          </a:r>
          <a:br>
            <a:rPr lang="en-US" sz="800">
              <a:solidFill>
                <a:srgbClr val="4A4A4A"/>
              </a:solidFill>
            </a:rPr>
          </a:br>
          <a:r>
            <a:rPr lang="en-US" sz="800">
              <a:solidFill>
                <a:srgbClr val="4A4A4A"/>
              </a:solidFill>
            </a:rPr>
            <a:t>Delay in concluding preceeding tanker's export documentation after offtake- experienced more with some NUPRC officials.</a:t>
          </a:r>
          <a:endParaRPr lang="en-US" sz="800" dirty="0">
            <a:solidFill>
              <a:srgbClr val="4A4A4A"/>
            </a:solidFill>
          </a:endParaRPr>
        </a:p>
      </dgm:t>
    </dgm:pt>
    <dgm:pt modelId="{BFCF13F0-986C-4BF6-9569-C0955A558D5A}" type="parTrans" cxnId="{83ABCCAD-73E3-4921-8ED7-71540DE23232}">
      <dgm:prSet custT="1"/>
      <dgm:spPr/>
      <dgm:t>
        <a:bodyPr/>
        <a:lstStyle/>
        <a:p>
          <a:pPr algn="ctr"/>
          <a:endParaRPr lang="en-US" sz="600">
            <a:solidFill>
              <a:srgbClr val="4A4A4A"/>
            </a:solidFill>
          </a:endParaRPr>
        </a:p>
      </dgm:t>
    </dgm:pt>
    <dgm:pt modelId="{AAA8016D-5D77-47FA-8C34-0DE8EA719462}" type="sibTrans" cxnId="{83ABCCAD-73E3-4921-8ED7-71540DE23232}">
      <dgm:prSet/>
      <dgm:spPr/>
      <dgm:t>
        <a:bodyPr/>
        <a:lstStyle/>
        <a:p>
          <a:pPr algn="ctr"/>
          <a:endParaRPr lang="en-US" sz="600">
            <a:solidFill>
              <a:srgbClr val="4A4A4A"/>
            </a:solidFill>
          </a:endParaRPr>
        </a:p>
      </dgm:t>
    </dgm:pt>
    <dgm:pt modelId="{FE6CECF1-6E4B-4FEC-8CED-6B1BAB13D0FC}">
      <dgm:prSet phldrT="[Text]" custT="1"/>
      <dgm:spPr>
        <a:solidFill>
          <a:srgbClr val="743A1E"/>
        </a:solidFill>
        <a:ln>
          <a:noFill/>
        </a:ln>
      </dgm:spPr>
      <dgm:t>
        <a:bodyPr/>
        <a:lstStyle/>
        <a:p>
          <a:pPr algn="ctr"/>
          <a:r>
            <a:rPr lang="en-US" sz="1000" dirty="0">
              <a:solidFill>
                <a:srgbClr val="FFFFFF"/>
              </a:solidFill>
            </a:rPr>
            <a:t>BOGT - GOs -Port Health, NDLEA- reside outside the terminal and are available in the day only.</a:t>
          </a:r>
        </a:p>
      </dgm:t>
    </dgm:pt>
    <dgm:pt modelId="{36E50ACF-DCDA-4D43-9CFE-27A130AD9349}" type="parTrans" cxnId="{BAED8F66-064D-47B0-AE09-45BE8BBBF7F9}">
      <dgm:prSet custT="1"/>
      <dgm:spPr/>
      <dgm:t>
        <a:bodyPr/>
        <a:lstStyle/>
        <a:p>
          <a:pPr algn="ctr"/>
          <a:endParaRPr lang="en-US" sz="600">
            <a:solidFill>
              <a:srgbClr val="4A4A4A"/>
            </a:solidFill>
          </a:endParaRPr>
        </a:p>
      </dgm:t>
    </dgm:pt>
    <dgm:pt modelId="{AEC36C48-8FC5-496B-BB2F-C00A94BC759B}" type="sibTrans" cxnId="{BAED8F66-064D-47B0-AE09-45BE8BBBF7F9}">
      <dgm:prSet/>
      <dgm:spPr/>
      <dgm:t>
        <a:bodyPr/>
        <a:lstStyle/>
        <a:p>
          <a:pPr algn="ctr"/>
          <a:endParaRPr lang="en-US" sz="600">
            <a:solidFill>
              <a:srgbClr val="4A4A4A"/>
            </a:solidFill>
          </a:endParaRPr>
        </a:p>
      </dgm:t>
    </dgm:pt>
    <dgm:pt modelId="{42FDF035-D0C7-427F-B020-89280DDD59D9}">
      <dgm:prSet phldrT="[Text]" custT="1"/>
      <dgm:spPr/>
      <dgm:t>
        <a:bodyPr/>
        <a:lstStyle/>
        <a:p>
          <a:pPr algn="ctr"/>
          <a:r>
            <a:rPr lang="en-US" sz="1000">
              <a:solidFill>
                <a:srgbClr val="4A4A4A"/>
              </a:solidFill>
            </a:rPr>
            <a:t>Vessels are limited to daylight sailing.</a:t>
          </a:r>
          <a:endParaRPr lang="en-US" sz="1000" dirty="0">
            <a:solidFill>
              <a:srgbClr val="4A4A4A"/>
            </a:solidFill>
          </a:endParaRPr>
        </a:p>
      </dgm:t>
    </dgm:pt>
    <dgm:pt modelId="{38EB19B5-80E1-4B4F-AE54-F53E7DC275D6}" type="parTrans" cxnId="{5D03BF9B-38A5-41B3-975B-6D65A6F9E827}">
      <dgm:prSet custT="1"/>
      <dgm:spPr/>
      <dgm:t>
        <a:bodyPr/>
        <a:lstStyle/>
        <a:p>
          <a:pPr algn="ctr"/>
          <a:endParaRPr lang="en-US" sz="600">
            <a:solidFill>
              <a:srgbClr val="4A4A4A"/>
            </a:solidFill>
          </a:endParaRPr>
        </a:p>
      </dgm:t>
    </dgm:pt>
    <dgm:pt modelId="{43E99951-1D21-418E-895B-B827B11490B8}" type="sibTrans" cxnId="{5D03BF9B-38A5-41B3-975B-6D65A6F9E827}">
      <dgm:prSet/>
      <dgm:spPr/>
      <dgm:t>
        <a:bodyPr/>
        <a:lstStyle/>
        <a:p>
          <a:pPr algn="ctr"/>
          <a:endParaRPr lang="en-US" sz="600">
            <a:solidFill>
              <a:srgbClr val="4A4A4A"/>
            </a:solidFill>
          </a:endParaRPr>
        </a:p>
      </dgm:t>
    </dgm:pt>
    <dgm:pt modelId="{ACA0728B-712F-4B3C-86BD-38646A7CB2A1}">
      <dgm:prSet phldrT="[Text]" custT="1"/>
      <dgm:spPr/>
      <dgm:t>
        <a:bodyPr/>
        <a:lstStyle/>
        <a:p>
          <a:pPr algn="ctr"/>
          <a:r>
            <a:rPr lang="en-US" sz="1000" u="none" strike="noStrike">
              <a:solidFill>
                <a:srgbClr val="4A4A4A"/>
              </a:solidFill>
              <a:effectLst/>
            </a:rPr>
            <a:t>Security concerns for night sailing.</a:t>
          </a:r>
          <a:endParaRPr lang="en-US" sz="1000" dirty="0">
            <a:solidFill>
              <a:srgbClr val="4A4A4A"/>
            </a:solidFill>
          </a:endParaRPr>
        </a:p>
      </dgm:t>
    </dgm:pt>
    <dgm:pt modelId="{BFC81B23-13A1-4020-B359-E48E04408DF2}" type="parTrans" cxnId="{C13EC1C2-4EBA-458A-B527-CC32886D82C6}">
      <dgm:prSet custT="1"/>
      <dgm:spPr/>
      <dgm:t>
        <a:bodyPr/>
        <a:lstStyle/>
        <a:p>
          <a:pPr algn="ctr"/>
          <a:endParaRPr lang="en-US" sz="600">
            <a:solidFill>
              <a:srgbClr val="4A4A4A"/>
            </a:solidFill>
          </a:endParaRPr>
        </a:p>
      </dgm:t>
    </dgm:pt>
    <dgm:pt modelId="{7FC23284-9F83-4F78-9616-4F9DC389EFBD}" type="sibTrans" cxnId="{C13EC1C2-4EBA-458A-B527-CC32886D82C6}">
      <dgm:prSet/>
      <dgm:spPr/>
      <dgm:t>
        <a:bodyPr/>
        <a:lstStyle/>
        <a:p>
          <a:pPr algn="ctr"/>
          <a:endParaRPr lang="en-US" sz="600">
            <a:solidFill>
              <a:srgbClr val="4A4A4A"/>
            </a:solidFill>
          </a:endParaRPr>
        </a:p>
      </dgm:t>
    </dgm:pt>
    <dgm:pt modelId="{3C9C4B77-5335-4699-945E-246E6D3A1B78}">
      <dgm:prSet phldrT="[Text]" custT="1"/>
      <dgm:spPr>
        <a:solidFill>
          <a:srgbClr val="336094"/>
        </a:solidFill>
        <a:ln>
          <a:noFill/>
        </a:ln>
      </dgm:spPr>
      <dgm:t>
        <a:bodyPr/>
        <a:lstStyle/>
        <a:p>
          <a:pPr algn="ctr"/>
          <a:r>
            <a:rPr lang="en-US" sz="1000" u="none" strike="noStrike" dirty="0">
              <a:solidFill>
                <a:srgbClr val="FFFFFF"/>
              </a:solidFill>
              <a:effectLst/>
            </a:rPr>
            <a:t>FOT: River channel is unlit - absence buoys indicating the safe waters for vessels to prevent running aground. E.g. Presence of shipwreck in river channel</a:t>
          </a:r>
          <a:endParaRPr lang="en-US" sz="1000" dirty="0">
            <a:solidFill>
              <a:srgbClr val="FFFFFF"/>
            </a:solidFill>
          </a:endParaRPr>
        </a:p>
      </dgm:t>
    </dgm:pt>
    <dgm:pt modelId="{BBFE7A37-3D95-4E41-BAE2-E34D6010EF92}" type="parTrans" cxnId="{D9FE48F0-7DF6-47C3-A630-657001B9E933}">
      <dgm:prSet custT="1"/>
      <dgm:spPr/>
      <dgm:t>
        <a:bodyPr/>
        <a:lstStyle/>
        <a:p>
          <a:pPr algn="ctr"/>
          <a:endParaRPr lang="en-US" sz="600">
            <a:solidFill>
              <a:srgbClr val="4A4A4A"/>
            </a:solidFill>
          </a:endParaRPr>
        </a:p>
      </dgm:t>
    </dgm:pt>
    <dgm:pt modelId="{3EB46468-DB23-4BEF-8C20-5F5D668574EB}" type="sibTrans" cxnId="{D9FE48F0-7DF6-47C3-A630-657001B9E933}">
      <dgm:prSet/>
      <dgm:spPr/>
      <dgm:t>
        <a:bodyPr/>
        <a:lstStyle/>
        <a:p>
          <a:pPr algn="ctr"/>
          <a:endParaRPr lang="en-US" sz="600">
            <a:solidFill>
              <a:srgbClr val="4A4A4A"/>
            </a:solidFill>
          </a:endParaRPr>
        </a:p>
      </dgm:t>
    </dgm:pt>
    <dgm:pt modelId="{C2D1F074-C05D-4590-97FE-204461DA5683}">
      <dgm:prSet phldrT="[Text]" custT="1"/>
      <dgm:spPr>
        <a:solidFill>
          <a:srgbClr val="336094"/>
        </a:solidFill>
      </dgm:spPr>
      <dgm:t>
        <a:bodyPr/>
        <a:lstStyle/>
        <a:p>
          <a:pPr algn="ctr"/>
          <a:r>
            <a:rPr lang="en-US" sz="1000" u="none" strike="noStrike" dirty="0">
              <a:solidFill>
                <a:srgbClr val="FFFFFF"/>
              </a:solidFill>
              <a:effectLst/>
            </a:rPr>
            <a:t>FOT: Fouling of the propellers by fishing nets; Fishing activities.</a:t>
          </a:r>
          <a:endParaRPr lang="en-US" sz="1000" dirty="0">
            <a:solidFill>
              <a:srgbClr val="FFFFFF"/>
            </a:solidFill>
          </a:endParaRPr>
        </a:p>
      </dgm:t>
    </dgm:pt>
    <dgm:pt modelId="{0BBD454E-0CAA-42AC-8920-1D3C96CB40E8}" type="parTrans" cxnId="{A4B19E89-383F-4B1A-B6B6-9141C3A1E7F1}">
      <dgm:prSet custT="1"/>
      <dgm:spPr/>
      <dgm:t>
        <a:bodyPr/>
        <a:lstStyle/>
        <a:p>
          <a:pPr algn="ctr"/>
          <a:endParaRPr lang="en-US" sz="600">
            <a:solidFill>
              <a:srgbClr val="4A4A4A"/>
            </a:solidFill>
          </a:endParaRPr>
        </a:p>
      </dgm:t>
    </dgm:pt>
    <dgm:pt modelId="{5CAEEE60-0B5C-40F0-B07A-A43995896CCD}" type="sibTrans" cxnId="{A4B19E89-383F-4B1A-B6B6-9141C3A1E7F1}">
      <dgm:prSet/>
      <dgm:spPr/>
      <dgm:t>
        <a:bodyPr/>
        <a:lstStyle/>
        <a:p>
          <a:pPr algn="ctr"/>
          <a:endParaRPr lang="en-US" sz="600">
            <a:solidFill>
              <a:srgbClr val="4A4A4A"/>
            </a:solidFill>
          </a:endParaRPr>
        </a:p>
      </dgm:t>
    </dgm:pt>
    <dgm:pt modelId="{CA5E1CDE-EE34-49E9-B13A-CD9871616054}" type="pres">
      <dgm:prSet presAssocID="{407AFA0C-C5D7-4367-B72F-9995DC652BC4}" presName="Name0" presStyleCnt="0">
        <dgm:presLayoutVars>
          <dgm:chPref val="1"/>
          <dgm:dir/>
          <dgm:animOne val="branch"/>
          <dgm:animLvl val="lvl"/>
          <dgm:resizeHandles val="exact"/>
        </dgm:presLayoutVars>
      </dgm:prSet>
      <dgm:spPr/>
    </dgm:pt>
    <dgm:pt modelId="{A2DF0522-355D-49C8-9F8A-91BBAC7A2EF6}" type="pres">
      <dgm:prSet presAssocID="{6CA75B29-9673-46EC-8E34-8E4F8CF6E4FF}" presName="root1" presStyleCnt="0"/>
      <dgm:spPr/>
    </dgm:pt>
    <dgm:pt modelId="{876B423C-3190-4967-83DF-0604BBCB998D}" type="pres">
      <dgm:prSet presAssocID="{6CA75B29-9673-46EC-8E34-8E4F8CF6E4FF}" presName="LevelOneTextNode" presStyleLbl="node0" presStyleIdx="0" presStyleCnt="1">
        <dgm:presLayoutVars>
          <dgm:chPref val="3"/>
        </dgm:presLayoutVars>
      </dgm:prSet>
      <dgm:spPr/>
    </dgm:pt>
    <dgm:pt modelId="{70CE364E-100C-4598-9D18-E14E5B3139E0}" type="pres">
      <dgm:prSet presAssocID="{6CA75B29-9673-46EC-8E34-8E4F8CF6E4FF}" presName="level2hierChild" presStyleCnt="0"/>
      <dgm:spPr/>
    </dgm:pt>
    <dgm:pt modelId="{B3D9707A-48A8-4657-BAA8-66893CC809F6}" type="pres">
      <dgm:prSet presAssocID="{F7252005-0D7B-4492-A4B5-642676C151E9}" presName="conn2-1" presStyleLbl="parChTrans1D2" presStyleIdx="0" presStyleCnt="6"/>
      <dgm:spPr/>
    </dgm:pt>
    <dgm:pt modelId="{5B104067-0F14-46A9-A868-E97980CB7F99}" type="pres">
      <dgm:prSet presAssocID="{F7252005-0D7B-4492-A4B5-642676C151E9}" presName="connTx" presStyleLbl="parChTrans1D2" presStyleIdx="0" presStyleCnt="6"/>
      <dgm:spPr/>
    </dgm:pt>
    <dgm:pt modelId="{2F1D9F84-2247-4F97-9258-DD467DD68E4F}" type="pres">
      <dgm:prSet presAssocID="{C10DCD7A-705F-4E7F-86FA-144D25B4E59F}" presName="root2" presStyleCnt="0"/>
      <dgm:spPr/>
    </dgm:pt>
    <dgm:pt modelId="{69642ACC-D964-4F75-86FA-1356887F7480}" type="pres">
      <dgm:prSet presAssocID="{C10DCD7A-705F-4E7F-86FA-144D25B4E59F}" presName="LevelTwoTextNode" presStyleLbl="node2" presStyleIdx="0" presStyleCnt="6">
        <dgm:presLayoutVars>
          <dgm:chPref val="3"/>
        </dgm:presLayoutVars>
      </dgm:prSet>
      <dgm:spPr/>
    </dgm:pt>
    <dgm:pt modelId="{1354A0EE-F4D3-435B-84C0-3B0AA89D9558}" type="pres">
      <dgm:prSet presAssocID="{C10DCD7A-705F-4E7F-86FA-144D25B4E59F}" presName="level3hierChild" presStyleCnt="0"/>
      <dgm:spPr/>
    </dgm:pt>
    <dgm:pt modelId="{16E275CD-414B-4163-A587-1A1B467717BB}" type="pres">
      <dgm:prSet presAssocID="{32503472-A971-4593-980B-EC40785E2E86}" presName="conn2-1" presStyleLbl="parChTrans1D3" presStyleIdx="0" presStyleCnt="10"/>
      <dgm:spPr/>
    </dgm:pt>
    <dgm:pt modelId="{767AD607-DFC0-4024-A6FC-1C055B6EE944}" type="pres">
      <dgm:prSet presAssocID="{32503472-A971-4593-980B-EC40785E2E86}" presName="connTx" presStyleLbl="parChTrans1D3" presStyleIdx="0" presStyleCnt="10"/>
      <dgm:spPr/>
    </dgm:pt>
    <dgm:pt modelId="{A69A2499-F901-480E-8474-FA1C2A08EC91}" type="pres">
      <dgm:prSet presAssocID="{E2C27B8E-6623-45FC-BF6D-685B79F7B60C}" presName="root2" presStyleCnt="0"/>
      <dgm:spPr/>
    </dgm:pt>
    <dgm:pt modelId="{A9058AEE-7BCF-443F-92DC-1ECF49ECE324}" type="pres">
      <dgm:prSet presAssocID="{E2C27B8E-6623-45FC-BF6D-685B79F7B60C}" presName="LevelTwoTextNode" presStyleLbl="node3" presStyleIdx="0" presStyleCnt="10" custScaleX="206848">
        <dgm:presLayoutVars>
          <dgm:chPref val="3"/>
        </dgm:presLayoutVars>
      </dgm:prSet>
      <dgm:spPr/>
    </dgm:pt>
    <dgm:pt modelId="{145BD7BC-378C-4D1A-BB59-54783CD4F245}" type="pres">
      <dgm:prSet presAssocID="{E2C27B8E-6623-45FC-BF6D-685B79F7B60C}" presName="level3hierChild" presStyleCnt="0"/>
      <dgm:spPr/>
    </dgm:pt>
    <dgm:pt modelId="{EFED6919-8E77-41A8-B6CE-D9017F12B351}" type="pres">
      <dgm:prSet presAssocID="{DF78943F-8856-475B-A0BC-8BD59FBB01FF}" presName="conn2-1" presStyleLbl="parChTrans1D3" presStyleIdx="1" presStyleCnt="10"/>
      <dgm:spPr/>
    </dgm:pt>
    <dgm:pt modelId="{07673AEE-F0C1-4B41-9990-28C916F2A625}" type="pres">
      <dgm:prSet presAssocID="{DF78943F-8856-475B-A0BC-8BD59FBB01FF}" presName="connTx" presStyleLbl="parChTrans1D3" presStyleIdx="1" presStyleCnt="10"/>
      <dgm:spPr/>
    </dgm:pt>
    <dgm:pt modelId="{0C5C7D98-A399-4856-BEA3-13AA6308F3B1}" type="pres">
      <dgm:prSet presAssocID="{30A1C8CB-ED4D-4C1A-B0BF-D93BAB884117}" presName="root2" presStyleCnt="0"/>
      <dgm:spPr/>
    </dgm:pt>
    <dgm:pt modelId="{6F79B5D2-7E4A-4D3A-BA2C-D1B1993566FF}" type="pres">
      <dgm:prSet presAssocID="{30A1C8CB-ED4D-4C1A-B0BF-D93BAB884117}" presName="LevelTwoTextNode" presStyleLbl="node3" presStyleIdx="1" presStyleCnt="10" custScaleX="206848">
        <dgm:presLayoutVars>
          <dgm:chPref val="3"/>
        </dgm:presLayoutVars>
      </dgm:prSet>
      <dgm:spPr/>
    </dgm:pt>
    <dgm:pt modelId="{5F599C3A-A074-4321-90FD-7CC3E9BC761C}" type="pres">
      <dgm:prSet presAssocID="{30A1C8CB-ED4D-4C1A-B0BF-D93BAB884117}" presName="level3hierChild" presStyleCnt="0"/>
      <dgm:spPr/>
    </dgm:pt>
    <dgm:pt modelId="{BEB33D27-711D-47D1-B255-44B8173A0947}" type="pres">
      <dgm:prSet presAssocID="{E75602A5-AA1E-4EA6-A090-4F8B4C263E1A}" presName="conn2-1" presStyleLbl="parChTrans1D4" presStyleIdx="0" presStyleCnt="6"/>
      <dgm:spPr/>
    </dgm:pt>
    <dgm:pt modelId="{FD0A73E6-0E36-4796-9463-60E8DC832422}" type="pres">
      <dgm:prSet presAssocID="{E75602A5-AA1E-4EA6-A090-4F8B4C263E1A}" presName="connTx" presStyleLbl="parChTrans1D4" presStyleIdx="0" presStyleCnt="6"/>
      <dgm:spPr/>
    </dgm:pt>
    <dgm:pt modelId="{DF7AAE30-925D-4617-9CEE-C124AA402F77}" type="pres">
      <dgm:prSet presAssocID="{756D261A-F34D-43DF-8BE9-55EF4B849F14}" presName="root2" presStyleCnt="0"/>
      <dgm:spPr/>
    </dgm:pt>
    <dgm:pt modelId="{C80EA913-51F2-4187-8F5B-DA6782CC91A5}" type="pres">
      <dgm:prSet presAssocID="{756D261A-F34D-43DF-8BE9-55EF4B849F14}" presName="LevelTwoTextNode" presStyleLbl="node4" presStyleIdx="0" presStyleCnt="6" custScaleX="310756">
        <dgm:presLayoutVars>
          <dgm:chPref val="3"/>
        </dgm:presLayoutVars>
      </dgm:prSet>
      <dgm:spPr/>
    </dgm:pt>
    <dgm:pt modelId="{E1E662AB-9221-4872-980A-F643868B4326}" type="pres">
      <dgm:prSet presAssocID="{756D261A-F34D-43DF-8BE9-55EF4B849F14}" presName="level3hierChild" presStyleCnt="0"/>
      <dgm:spPr/>
    </dgm:pt>
    <dgm:pt modelId="{CB83E30A-8604-490A-933F-AB60ED907450}" type="pres">
      <dgm:prSet presAssocID="{5CE4FEA0-5412-4531-9C91-38A14BA230FD}" presName="conn2-1" presStyleLbl="parChTrans1D2" presStyleIdx="1" presStyleCnt="6"/>
      <dgm:spPr/>
    </dgm:pt>
    <dgm:pt modelId="{B642C9DA-4CEE-4EF2-B65C-6B82B239BE8F}" type="pres">
      <dgm:prSet presAssocID="{5CE4FEA0-5412-4531-9C91-38A14BA230FD}" presName="connTx" presStyleLbl="parChTrans1D2" presStyleIdx="1" presStyleCnt="6"/>
      <dgm:spPr/>
    </dgm:pt>
    <dgm:pt modelId="{920561FE-9464-4EE9-B522-AFBE91E59CD3}" type="pres">
      <dgm:prSet presAssocID="{8AE726B4-D4F7-47BF-9CBB-8EAC45BFDAC7}" presName="root2" presStyleCnt="0"/>
      <dgm:spPr/>
    </dgm:pt>
    <dgm:pt modelId="{8EF28210-AB49-4103-91CA-E75047331787}" type="pres">
      <dgm:prSet presAssocID="{8AE726B4-D4F7-47BF-9CBB-8EAC45BFDAC7}" presName="LevelTwoTextNode" presStyleLbl="node2" presStyleIdx="1" presStyleCnt="6">
        <dgm:presLayoutVars>
          <dgm:chPref val="3"/>
        </dgm:presLayoutVars>
      </dgm:prSet>
      <dgm:spPr/>
    </dgm:pt>
    <dgm:pt modelId="{8027366A-9D91-4F51-B9C1-112EA8A0F3E6}" type="pres">
      <dgm:prSet presAssocID="{8AE726B4-D4F7-47BF-9CBB-8EAC45BFDAC7}" presName="level3hierChild" presStyleCnt="0"/>
      <dgm:spPr/>
    </dgm:pt>
    <dgm:pt modelId="{C889F40F-93DD-4F14-9077-FD98F85ADDD4}" type="pres">
      <dgm:prSet presAssocID="{E91E9CC3-A829-4395-A0DD-D3C3412A5B1F}" presName="conn2-1" presStyleLbl="parChTrans1D3" presStyleIdx="2" presStyleCnt="10"/>
      <dgm:spPr/>
    </dgm:pt>
    <dgm:pt modelId="{47BE9681-8F36-4B3D-9605-31CF2BF03AE2}" type="pres">
      <dgm:prSet presAssocID="{E91E9CC3-A829-4395-A0DD-D3C3412A5B1F}" presName="connTx" presStyleLbl="parChTrans1D3" presStyleIdx="2" presStyleCnt="10"/>
      <dgm:spPr/>
    </dgm:pt>
    <dgm:pt modelId="{8D4E8915-21EE-4084-9C4F-71D2AA3BFEA0}" type="pres">
      <dgm:prSet presAssocID="{02883DD9-727D-411A-8AE6-C681F325D7FE}" presName="root2" presStyleCnt="0"/>
      <dgm:spPr/>
    </dgm:pt>
    <dgm:pt modelId="{6063A79A-50F6-4A86-89E4-0D24D890CA06}" type="pres">
      <dgm:prSet presAssocID="{02883DD9-727D-411A-8AE6-C681F325D7FE}" presName="LevelTwoTextNode" presStyleLbl="node3" presStyleIdx="2" presStyleCnt="10" custScaleX="206848">
        <dgm:presLayoutVars>
          <dgm:chPref val="3"/>
        </dgm:presLayoutVars>
      </dgm:prSet>
      <dgm:spPr/>
    </dgm:pt>
    <dgm:pt modelId="{18F6D3BB-F1D9-4109-A05F-1846A1AD9F05}" type="pres">
      <dgm:prSet presAssocID="{02883DD9-727D-411A-8AE6-C681F325D7FE}" presName="level3hierChild" presStyleCnt="0"/>
      <dgm:spPr/>
    </dgm:pt>
    <dgm:pt modelId="{5B669DDC-91B2-42AB-91B5-AFAEED8C915A}" type="pres">
      <dgm:prSet presAssocID="{FE4593CF-C13F-4256-BA07-105D3ACE2763}" presName="conn2-1" presStyleLbl="parChTrans1D4" presStyleIdx="1" presStyleCnt="6"/>
      <dgm:spPr/>
    </dgm:pt>
    <dgm:pt modelId="{F5B7DA6A-A105-4595-9AE7-88098F1C98B8}" type="pres">
      <dgm:prSet presAssocID="{FE4593CF-C13F-4256-BA07-105D3ACE2763}" presName="connTx" presStyleLbl="parChTrans1D4" presStyleIdx="1" presStyleCnt="6"/>
      <dgm:spPr/>
    </dgm:pt>
    <dgm:pt modelId="{EEC757C8-EF47-4FF3-9C3F-5BBF0D7F61CB}" type="pres">
      <dgm:prSet presAssocID="{444DD194-6BF1-4584-AABD-18574447A3A5}" presName="root2" presStyleCnt="0"/>
      <dgm:spPr/>
    </dgm:pt>
    <dgm:pt modelId="{C1C55A0C-0EB3-436A-8CB3-AF608DC0D1B1}" type="pres">
      <dgm:prSet presAssocID="{444DD194-6BF1-4584-AABD-18574447A3A5}" presName="LevelTwoTextNode" presStyleLbl="node4" presStyleIdx="1" presStyleCnt="6" custScaleX="310756">
        <dgm:presLayoutVars>
          <dgm:chPref val="3"/>
        </dgm:presLayoutVars>
      </dgm:prSet>
      <dgm:spPr/>
    </dgm:pt>
    <dgm:pt modelId="{CF366824-7BA0-48D6-960E-32F19D2640EF}" type="pres">
      <dgm:prSet presAssocID="{444DD194-6BF1-4584-AABD-18574447A3A5}" presName="level3hierChild" presStyleCnt="0"/>
      <dgm:spPr/>
    </dgm:pt>
    <dgm:pt modelId="{39DBEBB3-55B3-42B2-867C-F17E2DA9C984}" type="pres">
      <dgm:prSet presAssocID="{368BC393-302F-4E8D-A694-5FEE3C8156A9}" presName="conn2-1" presStyleLbl="parChTrans1D3" presStyleIdx="3" presStyleCnt="10"/>
      <dgm:spPr/>
    </dgm:pt>
    <dgm:pt modelId="{4D6D61AF-7AD1-4C57-BF82-B55466AD7F79}" type="pres">
      <dgm:prSet presAssocID="{368BC393-302F-4E8D-A694-5FEE3C8156A9}" presName="connTx" presStyleLbl="parChTrans1D3" presStyleIdx="3" presStyleCnt="10"/>
      <dgm:spPr/>
    </dgm:pt>
    <dgm:pt modelId="{4DDC0CB3-8D9A-4F1A-8432-755A1F5187EC}" type="pres">
      <dgm:prSet presAssocID="{77A83BA2-1D99-4AE8-9794-C2C53B49A546}" presName="root2" presStyleCnt="0"/>
      <dgm:spPr/>
    </dgm:pt>
    <dgm:pt modelId="{EE5A1DDC-B5C8-46F5-813F-6EFB2D5D1857}" type="pres">
      <dgm:prSet presAssocID="{77A83BA2-1D99-4AE8-9794-C2C53B49A546}" presName="LevelTwoTextNode" presStyleLbl="node3" presStyleIdx="3" presStyleCnt="10" custScaleX="206848">
        <dgm:presLayoutVars>
          <dgm:chPref val="3"/>
        </dgm:presLayoutVars>
      </dgm:prSet>
      <dgm:spPr/>
    </dgm:pt>
    <dgm:pt modelId="{5BD501D8-6D3E-4591-83BB-9078A6BA217C}" type="pres">
      <dgm:prSet presAssocID="{77A83BA2-1D99-4AE8-9794-C2C53B49A546}" presName="level3hierChild" presStyleCnt="0"/>
      <dgm:spPr/>
    </dgm:pt>
    <dgm:pt modelId="{685D5FB3-3D96-4673-BC66-7E0B1A449969}" type="pres">
      <dgm:prSet presAssocID="{BDA1CDFE-67C9-49B3-BB47-A4AB53D1D09B}" presName="conn2-1" presStyleLbl="parChTrans1D2" presStyleIdx="2" presStyleCnt="6"/>
      <dgm:spPr/>
    </dgm:pt>
    <dgm:pt modelId="{531D771A-3BCA-4170-B3F9-62C090CEE7A5}" type="pres">
      <dgm:prSet presAssocID="{BDA1CDFE-67C9-49B3-BB47-A4AB53D1D09B}" presName="connTx" presStyleLbl="parChTrans1D2" presStyleIdx="2" presStyleCnt="6"/>
      <dgm:spPr/>
    </dgm:pt>
    <dgm:pt modelId="{8F4EADE1-5A3B-4778-935E-6799BB7B38A7}" type="pres">
      <dgm:prSet presAssocID="{A5190D3C-1653-4748-B7FB-567C645710BD}" presName="root2" presStyleCnt="0"/>
      <dgm:spPr/>
    </dgm:pt>
    <dgm:pt modelId="{8F016FB7-B854-400F-ABEF-7F507BEC17AA}" type="pres">
      <dgm:prSet presAssocID="{A5190D3C-1653-4748-B7FB-567C645710BD}" presName="LevelTwoTextNode" presStyleLbl="node2" presStyleIdx="2" presStyleCnt="6">
        <dgm:presLayoutVars>
          <dgm:chPref val="3"/>
        </dgm:presLayoutVars>
      </dgm:prSet>
      <dgm:spPr/>
    </dgm:pt>
    <dgm:pt modelId="{6E59EB4E-8EBF-49F8-88FD-FACF87A1FAC9}" type="pres">
      <dgm:prSet presAssocID="{A5190D3C-1653-4748-B7FB-567C645710BD}" presName="level3hierChild" presStyleCnt="0"/>
      <dgm:spPr/>
    </dgm:pt>
    <dgm:pt modelId="{F2457455-AAB0-4F29-A507-E0A963CAB068}" type="pres">
      <dgm:prSet presAssocID="{F6147454-B1C9-461C-AEAE-FD2318D6451F}" presName="conn2-1" presStyleLbl="parChTrans1D3" presStyleIdx="4" presStyleCnt="10"/>
      <dgm:spPr/>
    </dgm:pt>
    <dgm:pt modelId="{A7AEE5DA-C7B7-47D4-A972-11A15D9AD927}" type="pres">
      <dgm:prSet presAssocID="{F6147454-B1C9-461C-AEAE-FD2318D6451F}" presName="connTx" presStyleLbl="parChTrans1D3" presStyleIdx="4" presStyleCnt="10"/>
      <dgm:spPr/>
    </dgm:pt>
    <dgm:pt modelId="{C49D79A8-0A09-4EEC-8D2D-BBBEA119090F}" type="pres">
      <dgm:prSet presAssocID="{0F2E5027-9B0F-4B35-A34B-3D1CC270CE82}" presName="root2" presStyleCnt="0"/>
      <dgm:spPr/>
    </dgm:pt>
    <dgm:pt modelId="{C60FFC55-416F-4F71-82BF-98E6E75B44E5}" type="pres">
      <dgm:prSet presAssocID="{0F2E5027-9B0F-4B35-A34B-3D1CC270CE82}" presName="LevelTwoTextNode" presStyleLbl="node3" presStyleIdx="4" presStyleCnt="10" custScaleX="206848">
        <dgm:presLayoutVars>
          <dgm:chPref val="3"/>
        </dgm:presLayoutVars>
      </dgm:prSet>
      <dgm:spPr/>
    </dgm:pt>
    <dgm:pt modelId="{1477C5CF-312B-4EF9-B1CB-A5B832F7B2FF}" type="pres">
      <dgm:prSet presAssocID="{0F2E5027-9B0F-4B35-A34B-3D1CC270CE82}" presName="level3hierChild" presStyleCnt="0"/>
      <dgm:spPr/>
    </dgm:pt>
    <dgm:pt modelId="{A5C40D7D-AC2A-4546-92BA-69ADD088D6A2}" type="pres">
      <dgm:prSet presAssocID="{A3035F28-9FA5-4C36-A832-A770FBF1845A}" presName="conn2-1" presStyleLbl="parChTrans1D4" presStyleIdx="2" presStyleCnt="6"/>
      <dgm:spPr/>
    </dgm:pt>
    <dgm:pt modelId="{042B44FA-CE8C-45FB-A805-85AE734BB2BC}" type="pres">
      <dgm:prSet presAssocID="{A3035F28-9FA5-4C36-A832-A770FBF1845A}" presName="connTx" presStyleLbl="parChTrans1D4" presStyleIdx="2" presStyleCnt="6"/>
      <dgm:spPr/>
    </dgm:pt>
    <dgm:pt modelId="{0C953427-453B-4CD5-8158-7654A0FF47A0}" type="pres">
      <dgm:prSet presAssocID="{70836529-46A5-4653-9BD3-713D24F5881E}" presName="root2" presStyleCnt="0"/>
      <dgm:spPr/>
    </dgm:pt>
    <dgm:pt modelId="{78FA5704-01FF-4272-82D4-31E6E52FBE84}" type="pres">
      <dgm:prSet presAssocID="{70836529-46A5-4653-9BD3-713D24F5881E}" presName="LevelTwoTextNode" presStyleLbl="node4" presStyleIdx="2" presStyleCnt="6" custScaleX="310756" custScaleY="221699">
        <dgm:presLayoutVars>
          <dgm:chPref val="3"/>
        </dgm:presLayoutVars>
      </dgm:prSet>
      <dgm:spPr/>
    </dgm:pt>
    <dgm:pt modelId="{3D923D9E-DEAD-4B90-9798-7FCD1104E61F}" type="pres">
      <dgm:prSet presAssocID="{70836529-46A5-4653-9BD3-713D24F5881E}" presName="level3hierChild" presStyleCnt="0"/>
      <dgm:spPr/>
    </dgm:pt>
    <dgm:pt modelId="{85646D21-05C6-4EEB-9174-89486A0AB004}" type="pres">
      <dgm:prSet presAssocID="{A1169F5C-DFCC-4BD1-B4D3-EF1A0E191E13}" presName="conn2-1" presStyleLbl="parChTrans1D2" presStyleIdx="3" presStyleCnt="6"/>
      <dgm:spPr/>
    </dgm:pt>
    <dgm:pt modelId="{1F097970-2C87-447B-8577-155A6C5043DA}" type="pres">
      <dgm:prSet presAssocID="{A1169F5C-DFCC-4BD1-B4D3-EF1A0E191E13}" presName="connTx" presStyleLbl="parChTrans1D2" presStyleIdx="3" presStyleCnt="6"/>
      <dgm:spPr/>
    </dgm:pt>
    <dgm:pt modelId="{0BEEA5DE-CB01-42C5-98AC-BEDB7A790BC3}" type="pres">
      <dgm:prSet presAssocID="{F337BB20-7C4E-4D2C-AC3F-0494DC682F86}" presName="root2" presStyleCnt="0"/>
      <dgm:spPr/>
    </dgm:pt>
    <dgm:pt modelId="{A4DE185A-BB51-4E89-B082-DF109C0EDBE6}" type="pres">
      <dgm:prSet presAssocID="{F337BB20-7C4E-4D2C-AC3F-0494DC682F86}" presName="LevelTwoTextNode" presStyleLbl="node2" presStyleIdx="3" presStyleCnt="6">
        <dgm:presLayoutVars>
          <dgm:chPref val="3"/>
        </dgm:presLayoutVars>
      </dgm:prSet>
      <dgm:spPr/>
    </dgm:pt>
    <dgm:pt modelId="{4F9CFB94-510C-47CF-AD01-611283889635}" type="pres">
      <dgm:prSet presAssocID="{F337BB20-7C4E-4D2C-AC3F-0494DC682F86}" presName="level3hierChild" presStyleCnt="0"/>
      <dgm:spPr/>
    </dgm:pt>
    <dgm:pt modelId="{F5FE547B-35A9-4F67-A833-30B8B967EF0A}" type="pres">
      <dgm:prSet presAssocID="{76DDFF82-3ACD-450D-8742-C73130A4CE78}" presName="conn2-1" presStyleLbl="parChTrans1D3" presStyleIdx="5" presStyleCnt="10"/>
      <dgm:spPr/>
    </dgm:pt>
    <dgm:pt modelId="{94723814-06E9-46F8-8DAA-864EC2ABAC8A}" type="pres">
      <dgm:prSet presAssocID="{76DDFF82-3ACD-450D-8742-C73130A4CE78}" presName="connTx" presStyleLbl="parChTrans1D3" presStyleIdx="5" presStyleCnt="10"/>
      <dgm:spPr/>
    </dgm:pt>
    <dgm:pt modelId="{B7218ED8-4259-40F3-BC60-AABA849DD29C}" type="pres">
      <dgm:prSet presAssocID="{4EAF11C9-93B7-4C13-9968-0074A814F253}" presName="root2" presStyleCnt="0"/>
      <dgm:spPr/>
    </dgm:pt>
    <dgm:pt modelId="{7BC0D74C-0A0B-41F1-BCFC-4658F7775DA5}" type="pres">
      <dgm:prSet presAssocID="{4EAF11C9-93B7-4C13-9968-0074A814F253}" presName="LevelTwoTextNode" presStyleLbl="node3" presStyleIdx="5" presStyleCnt="10" custScaleX="206848">
        <dgm:presLayoutVars>
          <dgm:chPref val="3"/>
        </dgm:presLayoutVars>
      </dgm:prSet>
      <dgm:spPr/>
    </dgm:pt>
    <dgm:pt modelId="{7FA4E815-000D-412F-8848-1192BF550079}" type="pres">
      <dgm:prSet presAssocID="{4EAF11C9-93B7-4C13-9968-0074A814F253}" presName="level3hierChild" presStyleCnt="0"/>
      <dgm:spPr/>
    </dgm:pt>
    <dgm:pt modelId="{51FD1F7F-2985-45FD-8DC7-6C51BC0BFB40}" type="pres">
      <dgm:prSet presAssocID="{25BCA4B3-FA12-44D9-9546-E84E82609CE4}" presName="conn2-1" presStyleLbl="parChTrans1D2" presStyleIdx="4" presStyleCnt="6"/>
      <dgm:spPr/>
    </dgm:pt>
    <dgm:pt modelId="{7DA0F635-E73B-4796-8B51-51B339FA415C}" type="pres">
      <dgm:prSet presAssocID="{25BCA4B3-FA12-44D9-9546-E84E82609CE4}" presName="connTx" presStyleLbl="parChTrans1D2" presStyleIdx="4" presStyleCnt="6"/>
      <dgm:spPr/>
    </dgm:pt>
    <dgm:pt modelId="{9600027D-D937-4A0E-8056-5C6C2554363A}" type="pres">
      <dgm:prSet presAssocID="{59D52A10-7408-4E18-B768-5B1862BC1221}" presName="root2" presStyleCnt="0"/>
      <dgm:spPr/>
    </dgm:pt>
    <dgm:pt modelId="{5B7BA061-F2AF-4778-9B0A-DFF22F815B76}" type="pres">
      <dgm:prSet presAssocID="{59D52A10-7408-4E18-B768-5B1862BC1221}" presName="LevelTwoTextNode" presStyleLbl="node2" presStyleIdx="4" presStyleCnt="6">
        <dgm:presLayoutVars>
          <dgm:chPref val="3"/>
        </dgm:presLayoutVars>
      </dgm:prSet>
      <dgm:spPr/>
    </dgm:pt>
    <dgm:pt modelId="{FA6F0916-61C7-482C-B6E3-9250EA851E8A}" type="pres">
      <dgm:prSet presAssocID="{59D52A10-7408-4E18-B768-5B1862BC1221}" presName="level3hierChild" presStyleCnt="0"/>
      <dgm:spPr/>
    </dgm:pt>
    <dgm:pt modelId="{76A08ECA-2701-4D06-B562-2036D6FDC347}" type="pres">
      <dgm:prSet presAssocID="{C5299E4E-BD96-4595-BE34-EFC808AA5181}" presName="conn2-1" presStyleLbl="parChTrans1D3" presStyleIdx="6" presStyleCnt="10"/>
      <dgm:spPr/>
    </dgm:pt>
    <dgm:pt modelId="{72784062-1309-4EC6-B7C6-9A29AC3AE8FC}" type="pres">
      <dgm:prSet presAssocID="{C5299E4E-BD96-4595-BE34-EFC808AA5181}" presName="connTx" presStyleLbl="parChTrans1D3" presStyleIdx="6" presStyleCnt="10"/>
      <dgm:spPr/>
    </dgm:pt>
    <dgm:pt modelId="{D07D0764-75B5-4173-9A83-3CA3E7A517C9}" type="pres">
      <dgm:prSet presAssocID="{F5C02462-80CC-405C-B1F5-1E2FE75EA829}" presName="root2" presStyleCnt="0"/>
      <dgm:spPr/>
    </dgm:pt>
    <dgm:pt modelId="{95E94648-C953-42A4-B330-74379F76D814}" type="pres">
      <dgm:prSet presAssocID="{F5C02462-80CC-405C-B1F5-1E2FE75EA829}" presName="LevelTwoTextNode" presStyleLbl="node3" presStyleIdx="6" presStyleCnt="10" custScaleX="206848">
        <dgm:presLayoutVars>
          <dgm:chPref val="3"/>
        </dgm:presLayoutVars>
      </dgm:prSet>
      <dgm:spPr/>
    </dgm:pt>
    <dgm:pt modelId="{24C129E9-6942-436A-9A32-69E12D10E14D}" type="pres">
      <dgm:prSet presAssocID="{F5C02462-80CC-405C-B1F5-1E2FE75EA829}" presName="level3hierChild" presStyleCnt="0"/>
      <dgm:spPr/>
    </dgm:pt>
    <dgm:pt modelId="{31352B07-229A-428E-9A9A-0259373B006D}" type="pres">
      <dgm:prSet presAssocID="{38EB19B5-80E1-4B4F-AE54-F53E7DC275D6}" presName="conn2-1" presStyleLbl="parChTrans1D3" presStyleIdx="7" presStyleCnt="10"/>
      <dgm:spPr/>
    </dgm:pt>
    <dgm:pt modelId="{8E417E84-81F3-423D-8BCF-57EF5E031622}" type="pres">
      <dgm:prSet presAssocID="{38EB19B5-80E1-4B4F-AE54-F53E7DC275D6}" presName="connTx" presStyleLbl="parChTrans1D3" presStyleIdx="7" presStyleCnt="10"/>
      <dgm:spPr/>
    </dgm:pt>
    <dgm:pt modelId="{4B6FA8E8-82FD-4BA9-A9A9-AF46EB812AA0}" type="pres">
      <dgm:prSet presAssocID="{42FDF035-D0C7-427F-B020-89280DDD59D9}" presName="root2" presStyleCnt="0"/>
      <dgm:spPr/>
    </dgm:pt>
    <dgm:pt modelId="{75D45F4B-8920-4823-8070-5F894B45206D}" type="pres">
      <dgm:prSet presAssocID="{42FDF035-D0C7-427F-B020-89280DDD59D9}" presName="LevelTwoTextNode" presStyleLbl="node3" presStyleIdx="7" presStyleCnt="10" custScaleX="206848">
        <dgm:presLayoutVars>
          <dgm:chPref val="3"/>
        </dgm:presLayoutVars>
      </dgm:prSet>
      <dgm:spPr/>
    </dgm:pt>
    <dgm:pt modelId="{DEA69EAB-9BD5-44EE-B8E5-74D51BED1DBC}" type="pres">
      <dgm:prSet presAssocID="{42FDF035-D0C7-427F-B020-89280DDD59D9}" presName="level3hierChild" presStyleCnt="0"/>
      <dgm:spPr/>
    </dgm:pt>
    <dgm:pt modelId="{469408BB-2710-4F7D-95E1-9E2B7A45EE24}" type="pres">
      <dgm:prSet presAssocID="{BFC81B23-13A1-4020-B359-E48E04408DF2}" presName="conn2-1" presStyleLbl="parChTrans1D4" presStyleIdx="3" presStyleCnt="6"/>
      <dgm:spPr/>
    </dgm:pt>
    <dgm:pt modelId="{BC2AA862-75E1-40A4-983A-4F9255027B61}" type="pres">
      <dgm:prSet presAssocID="{BFC81B23-13A1-4020-B359-E48E04408DF2}" presName="connTx" presStyleLbl="parChTrans1D4" presStyleIdx="3" presStyleCnt="6"/>
      <dgm:spPr/>
    </dgm:pt>
    <dgm:pt modelId="{A5313BE8-2407-4251-8DD9-04D180CF90B5}" type="pres">
      <dgm:prSet presAssocID="{ACA0728B-712F-4B3C-86BD-38646A7CB2A1}" presName="root2" presStyleCnt="0"/>
      <dgm:spPr/>
    </dgm:pt>
    <dgm:pt modelId="{BBF87EFD-83B7-4137-848E-C8F3B667FF85}" type="pres">
      <dgm:prSet presAssocID="{ACA0728B-712F-4B3C-86BD-38646A7CB2A1}" presName="LevelTwoTextNode" presStyleLbl="node4" presStyleIdx="3" presStyleCnt="6" custScaleX="310756">
        <dgm:presLayoutVars>
          <dgm:chPref val="3"/>
        </dgm:presLayoutVars>
      </dgm:prSet>
      <dgm:spPr/>
    </dgm:pt>
    <dgm:pt modelId="{36C35BBA-5449-442D-9F10-CD57A5E1B5CD}" type="pres">
      <dgm:prSet presAssocID="{ACA0728B-712F-4B3C-86BD-38646A7CB2A1}" presName="level3hierChild" presStyleCnt="0"/>
      <dgm:spPr/>
    </dgm:pt>
    <dgm:pt modelId="{2701DC85-F3E5-4B63-9A30-7D2443C57A63}" type="pres">
      <dgm:prSet presAssocID="{BBFE7A37-3D95-4E41-BAE2-E34D6010EF92}" presName="conn2-1" presStyleLbl="parChTrans1D4" presStyleIdx="4" presStyleCnt="6"/>
      <dgm:spPr/>
    </dgm:pt>
    <dgm:pt modelId="{DA4FFE79-9294-4426-A333-3BE4D1E5EF8A}" type="pres">
      <dgm:prSet presAssocID="{BBFE7A37-3D95-4E41-BAE2-E34D6010EF92}" presName="connTx" presStyleLbl="parChTrans1D4" presStyleIdx="4" presStyleCnt="6"/>
      <dgm:spPr/>
    </dgm:pt>
    <dgm:pt modelId="{7B5A36A0-8642-46CF-B7A9-3C38BC7B6F38}" type="pres">
      <dgm:prSet presAssocID="{3C9C4B77-5335-4699-945E-246E6D3A1B78}" presName="root2" presStyleCnt="0"/>
      <dgm:spPr/>
    </dgm:pt>
    <dgm:pt modelId="{D491C935-11FD-40C5-B1C4-4BBD6FAA4953}" type="pres">
      <dgm:prSet presAssocID="{3C9C4B77-5335-4699-945E-246E6D3A1B78}" presName="LevelTwoTextNode" presStyleLbl="node4" presStyleIdx="4" presStyleCnt="6" custScaleX="310756">
        <dgm:presLayoutVars>
          <dgm:chPref val="3"/>
        </dgm:presLayoutVars>
      </dgm:prSet>
      <dgm:spPr/>
    </dgm:pt>
    <dgm:pt modelId="{59FCAC0D-54E1-43D0-BFB9-E2B2D5C8C2F2}" type="pres">
      <dgm:prSet presAssocID="{3C9C4B77-5335-4699-945E-246E6D3A1B78}" presName="level3hierChild" presStyleCnt="0"/>
      <dgm:spPr/>
    </dgm:pt>
    <dgm:pt modelId="{0EB9CD40-D38A-4793-A1FF-3EC56EAED078}" type="pres">
      <dgm:prSet presAssocID="{0BBD454E-0CAA-42AC-8920-1D3C96CB40E8}" presName="conn2-1" presStyleLbl="parChTrans1D4" presStyleIdx="5" presStyleCnt="6"/>
      <dgm:spPr/>
    </dgm:pt>
    <dgm:pt modelId="{5B8C17FD-81A8-48DE-91D6-A8AD767694B4}" type="pres">
      <dgm:prSet presAssocID="{0BBD454E-0CAA-42AC-8920-1D3C96CB40E8}" presName="connTx" presStyleLbl="parChTrans1D4" presStyleIdx="5" presStyleCnt="6"/>
      <dgm:spPr/>
    </dgm:pt>
    <dgm:pt modelId="{BED9C1AF-DC5C-4ABA-B2C7-FE547D9665A8}" type="pres">
      <dgm:prSet presAssocID="{C2D1F074-C05D-4590-97FE-204461DA5683}" presName="root2" presStyleCnt="0"/>
      <dgm:spPr/>
    </dgm:pt>
    <dgm:pt modelId="{8A4D6683-8932-4287-9C32-790D9CEC73AE}" type="pres">
      <dgm:prSet presAssocID="{C2D1F074-C05D-4590-97FE-204461DA5683}" presName="LevelTwoTextNode" presStyleLbl="node4" presStyleIdx="5" presStyleCnt="6" custScaleX="310756">
        <dgm:presLayoutVars>
          <dgm:chPref val="3"/>
        </dgm:presLayoutVars>
      </dgm:prSet>
      <dgm:spPr/>
    </dgm:pt>
    <dgm:pt modelId="{92F3A204-C132-4994-9E37-6BFEE51C06DC}" type="pres">
      <dgm:prSet presAssocID="{C2D1F074-C05D-4590-97FE-204461DA5683}" presName="level3hierChild" presStyleCnt="0"/>
      <dgm:spPr/>
    </dgm:pt>
    <dgm:pt modelId="{F080F4EC-EA06-4946-9B51-572374DFF990}" type="pres">
      <dgm:prSet presAssocID="{36E50ACF-DCDA-4D43-9CFE-27A130AD9349}" presName="conn2-1" presStyleLbl="parChTrans1D3" presStyleIdx="8" presStyleCnt="10"/>
      <dgm:spPr/>
    </dgm:pt>
    <dgm:pt modelId="{C33307B2-05A2-4B5A-9CB7-B66B64051799}" type="pres">
      <dgm:prSet presAssocID="{36E50ACF-DCDA-4D43-9CFE-27A130AD9349}" presName="connTx" presStyleLbl="parChTrans1D3" presStyleIdx="8" presStyleCnt="10"/>
      <dgm:spPr/>
    </dgm:pt>
    <dgm:pt modelId="{AE2911FF-A59E-4D74-B513-C71AFE53B603}" type="pres">
      <dgm:prSet presAssocID="{FE6CECF1-6E4B-4FEC-8CED-6B1BAB13D0FC}" presName="root2" presStyleCnt="0"/>
      <dgm:spPr/>
    </dgm:pt>
    <dgm:pt modelId="{C4CD4FF9-2447-4D5D-9C01-9FD2942E01EA}" type="pres">
      <dgm:prSet presAssocID="{FE6CECF1-6E4B-4FEC-8CED-6B1BAB13D0FC}" presName="LevelTwoTextNode" presStyleLbl="node3" presStyleIdx="8" presStyleCnt="10" custScaleX="206848">
        <dgm:presLayoutVars>
          <dgm:chPref val="3"/>
        </dgm:presLayoutVars>
      </dgm:prSet>
      <dgm:spPr/>
    </dgm:pt>
    <dgm:pt modelId="{340120BA-5823-4DB5-B0EF-78D09B9C9139}" type="pres">
      <dgm:prSet presAssocID="{FE6CECF1-6E4B-4FEC-8CED-6B1BAB13D0FC}" presName="level3hierChild" presStyleCnt="0"/>
      <dgm:spPr/>
    </dgm:pt>
    <dgm:pt modelId="{A2A010F9-72C9-463A-9219-9F73C3936693}" type="pres">
      <dgm:prSet presAssocID="{2FD2CDF8-DAFE-45FE-8E70-7C3E037846AF}" presName="conn2-1" presStyleLbl="parChTrans1D2" presStyleIdx="5" presStyleCnt="6"/>
      <dgm:spPr/>
    </dgm:pt>
    <dgm:pt modelId="{420FAE1C-F59C-460D-A223-906310276858}" type="pres">
      <dgm:prSet presAssocID="{2FD2CDF8-DAFE-45FE-8E70-7C3E037846AF}" presName="connTx" presStyleLbl="parChTrans1D2" presStyleIdx="5" presStyleCnt="6"/>
      <dgm:spPr/>
    </dgm:pt>
    <dgm:pt modelId="{6BDCF498-8A39-45C5-9306-36B2DB2C8AF7}" type="pres">
      <dgm:prSet presAssocID="{5A63E263-BFA8-4328-B8D0-C66651AE285E}" presName="root2" presStyleCnt="0"/>
      <dgm:spPr/>
    </dgm:pt>
    <dgm:pt modelId="{965CC56C-3A11-4A77-89EA-60722CD5EE89}" type="pres">
      <dgm:prSet presAssocID="{5A63E263-BFA8-4328-B8D0-C66651AE285E}" presName="LevelTwoTextNode" presStyleLbl="node2" presStyleIdx="5" presStyleCnt="6">
        <dgm:presLayoutVars>
          <dgm:chPref val="3"/>
        </dgm:presLayoutVars>
      </dgm:prSet>
      <dgm:spPr/>
    </dgm:pt>
    <dgm:pt modelId="{937EF188-A315-4933-94CC-86ECEBD1745E}" type="pres">
      <dgm:prSet presAssocID="{5A63E263-BFA8-4328-B8D0-C66651AE285E}" presName="level3hierChild" presStyleCnt="0"/>
      <dgm:spPr/>
    </dgm:pt>
    <dgm:pt modelId="{4064A01A-4576-4D47-A1FC-9AA6612F23BC}" type="pres">
      <dgm:prSet presAssocID="{BFCF13F0-986C-4BF6-9569-C0955A558D5A}" presName="conn2-1" presStyleLbl="parChTrans1D3" presStyleIdx="9" presStyleCnt="10"/>
      <dgm:spPr/>
    </dgm:pt>
    <dgm:pt modelId="{0C29FBE1-3AE3-454C-86A4-C302736CCB88}" type="pres">
      <dgm:prSet presAssocID="{BFCF13F0-986C-4BF6-9569-C0955A558D5A}" presName="connTx" presStyleLbl="parChTrans1D3" presStyleIdx="9" presStyleCnt="10"/>
      <dgm:spPr/>
    </dgm:pt>
    <dgm:pt modelId="{548C4A87-7D13-4070-91CB-39766BCA7C5C}" type="pres">
      <dgm:prSet presAssocID="{6186BB24-D4A6-4459-9F22-15BE46312764}" presName="root2" presStyleCnt="0"/>
      <dgm:spPr/>
    </dgm:pt>
    <dgm:pt modelId="{9E66E106-CF3F-42C7-AD27-8B7CBB1A7013}" type="pres">
      <dgm:prSet presAssocID="{6186BB24-D4A6-4459-9F22-15BE46312764}" presName="LevelTwoTextNode" presStyleLbl="node3" presStyleIdx="9" presStyleCnt="10" custScaleX="206848">
        <dgm:presLayoutVars>
          <dgm:chPref val="3"/>
        </dgm:presLayoutVars>
      </dgm:prSet>
      <dgm:spPr/>
    </dgm:pt>
    <dgm:pt modelId="{ACED0D9F-8A86-4ED7-9566-89CD8EC91BA9}" type="pres">
      <dgm:prSet presAssocID="{6186BB24-D4A6-4459-9F22-15BE46312764}" presName="level3hierChild" presStyleCnt="0"/>
      <dgm:spPr/>
    </dgm:pt>
  </dgm:ptLst>
  <dgm:cxnLst>
    <dgm:cxn modelId="{852AC306-3476-4D3C-839D-E7CE68E88506}" type="presOf" srcId="{70836529-46A5-4653-9BD3-713D24F5881E}" destId="{78FA5704-01FF-4272-82D4-31E6E52FBE84}" srcOrd="0" destOrd="0" presId="urn:microsoft.com/office/officeart/2008/layout/HorizontalMultiLevelHierarchy"/>
    <dgm:cxn modelId="{26A5D406-8FEC-443B-8392-6FB09A29EFE6}" type="presOf" srcId="{6186BB24-D4A6-4459-9F22-15BE46312764}" destId="{9E66E106-CF3F-42C7-AD27-8B7CBB1A7013}" srcOrd="0" destOrd="0" presId="urn:microsoft.com/office/officeart/2008/layout/HorizontalMultiLevelHierarchy"/>
    <dgm:cxn modelId="{9415C107-8713-4D34-AADF-EC33DF9782EB}" type="presOf" srcId="{32503472-A971-4593-980B-EC40785E2E86}" destId="{767AD607-DFC0-4024-A6FC-1C055B6EE944}" srcOrd="1" destOrd="0" presId="urn:microsoft.com/office/officeart/2008/layout/HorizontalMultiLevelHierarchy"/>
    <dgm:cxn modelId="{10BB9911-3281-4B90-9034-D85CD8F96AC0}" type="presOf" srcId="{E91E9CC3-A829-4395-A0DD-D3C3412A5B1F}" destId="{C889F40F-93DD-4F14-9077-FD98F85ADDD4}" srcOrd="0" destOrd="0" presId="urn:microsoft.com/office/officeart/2008/layout/HorizontalMultiLevelHierarchy"/>
    <dgm:cxn modelId="{FCB6B511-216F-459D-B962-5C6EEDDB5F37}" type="presOf" srcId="{38EB19B5-80E1-4B4F-AE54-F53E7DC275D6}" destId="{8E417E84-81F3-423D-8BCF-57EF5E031622}" srcOrd="1" destOrd="0" presId="urn:microsoft.com/office/officeart/2008/layout/HorizontalMultiLevelHierarchy"/>
    <dgm:cxn modelId="{297D8713-C2C2-46ED-8801-4C910823FAB6}" type="presOf" srcId="{F7252005-0D7B-4492-A4B5-642676C151E9}" destId="{5B104067-0F14-46A9-A868-E97980CB7F99}" srcOrd="1" destOrd="0" presId="urn:microsoft.com/office/officeart/2008/layout/HorizontalMultiLevelHierarchy"/>
    <dgm:cxn modelId="{6215BA15-34D5-447B-9210-D5C9AEA1912F}" type="presOf" srcId="{6CA75B29-9673-46EC-8E34-8E4F8CF6E4FF}" destId="{876B423C-3190-4967-83DF-0604BBCB998D}" srcOrd="0" destOrd="0" presId="urn:microsoft.com/office/officeart/2008/layout/HorizontalMultiLevelHierarchy"/>
    <dgm:cxn modelId="{D8335E16-96B3-4711-A282-8ED2D4804E76}" type="presOf" srcId="{0BBD454E-0CAA-42AC-8920-1D3C96CB40E8}" destId="{5B8C17FD-81A8-48DE-91D6-A8AD767694B4}" srcOrd="1" destOrd="0" presId="urn:microsoft.com/office/officeart/2008/layout/HorizontalMultiLevelHierarchy"/>
    <dgm:cxn modelId="{69411F18-9A88-40A5-8B34-C98A70D35A8E}" srcId="{02883DD9-727D-411A-8AE6-C681F325D7FE}" destId="{444DD194-6BF1-4584-AABD-18574447A3A5}" srcOrd="0" destOrd="0" parTransId="{FE4593CF-C13F-4256-BA07-105D3ACE2763}" sibTransId="{FDEBBC77-C171-432B-A3D7-6EED7FD1519B}"/>
    <dgm:cxn modelId="{42AD0E19-260F-4F62-A13C-0F50AB697647}" type="presOf" srcId="{E2C27B8E-6623-45FC-BF6D-685B79F7B60C}" destId="{A9058AEE-7BCF-443F-92DC-1ECF49ECE324}" srcOrd="0" destOrd="0" presId="urn:microsoft.com/office/officeart/2008/layout/HorizontalMultiLevelHierarchy"/>
    <dgm:cxn modelId="{D5F83819-8420-4486-8237-D1E49DFBA9F7}" type="presOf" srcId="{E75602A5-AA1E-4EA6-A090-4F8B4C263E1A}" destId="{BEB33D27-711D-47D1-B255-44B8173A0947}" srcOrd="0" destOrd="0" presId="urn:microsoft.com/office/officeart/2008/layout/HorizontalMultiLevelHierarchy"/>
    <dgm:cxn modelId="{65727D1A-1744-46F5-A807-5D52FE57171A}" type="presOf" srcId="{C5299E4E-BD96-4595-BE34-EFC808AA5181}" destId="{76A08ECA-2701-4D06-B562-2036D6FDC347}" srcOrd="0" destOrd="0" presId="urn:microsoft.com/office/officeart/2008/layout/HorizontalMultiLevelHierarchy"/>
    <dgm:cxn modelId="{2A2EDC20-1BA5-4283-8E77-423DA5F18059}" type="presOf" srcId="{25BCA4B3-FA12-44D9-9546-E84E82609CE4}" destId="{7DA0F635-E73B-4796-8B51-51B339FA415C}" srcOrd="1" destOrd="0" presId="urn:microsoft.com/office/officeart/2008/layout/HorizontalMultiLevelHierarchy"/>
    <dgm:cxn modelId="{900AA224-58DB-44AB-BC34-B55A6486BFD9}" type="presOf" srcId="{F7252005-0D7B-4492-A4B5-642676C151E9}" destId="{B3D9707A-48A8-4657-BAA8-66893CC809F6}" srcOrd="0" destOrd="0" presId="urn:microsoft.com/office/officeart/2008/layout/HorizontalMultiLevelHierarchy"/>
    <dgm:cxn modelId="{48C82926-37C2-4880-BCF8-44BA4B6AD914}" type="presOf" srcId="{0BBD454E-0CAA-42AC-8920-1D3C96CB40E8}" destId="{0EB9CD40-D38A-4793-A1FF-3EC56EAED078}" srcOrd="0" destOrd="0" presId="urn:microsoft.com/office/officeart/2008/layout/HorizontalMultiLevelHierarchy"/>
    <dgm:cxn modelId="{17E9422A-2DAB-4B31-AED0-57A78DFEF288}" type="presOf" srcId="{BBFE7A37-3D95-4E41-BAE2-E34D6010EF92}" destId="{2701DC85-F3E5-4B63-9A30-7D2443C57A63}" srcOrd="0" destOrd="0" presId="urn:microsoft.com/office/officeart/2008/layout/HorizontalMultiLevelHierarchy"/>
    <dgm:cxn modelId="{42B4112E-737C-4A18-80F4-CCCAEA2EDAC5}" type="presOf" srcId="{42FDF035-D0C7-427F-B020-89280DDD59D9}" destId="{75D45F4B-8920-4823-8070-5F894B45206D}" srcOrd="0" destOrd="0" presId="urn:microsoft.com/office/officeart/2008/layout/HorizontalMultiLevelHierarchy"/>
    <dgm:cxn modelId="{D9A81634-357F-42ED-B0F3-678D42906953}" type="presOf" srcId="{C2D1F074-C05D-4590-97FE-204461DA5683}" destId="{8A4D6683-8932-4287-9C32-790D9CEC73AE}" srcOrd="0" destOrd="0" presId="urn:microsoft.com/office/officeart/2008/layout/HorizontalMultiLevelHierarchy"/>
    <dgm:cxn modelId="{29FCE736-AB8E-449E-9EA1-46482A42A833}" type="presOf" srcId="{368BC393-302F-4E8D-A694-5FEE3C8156A9}" destId="{39DBEBB3-55B3-42B2-867C-F17E2DA9C984}" srcOrd="0" destOrd="0" presId="urn:microsoft.com/office/officeart/2008/layout/HorizontalMultiLevelHierarchy"/>
    <dgm:cxn modelId="{C4DECD37-8D12-4CE0-9D74-8B3EB7CA6FF0}" type="presOf" srcId="{38EB19B5-80E1-4B4F-AE54-F53E7DC275D6}" destId="{31352B07-229A-428E-9A9A-0259373B006D}" srcOrd="0" destOrd="0" presId="urn:microsoft.com/office/officeart/2008/layout/HorizontalMultiLevelHierarchy"/>
    <dgm:cxn modelId="{0F288A3B-7C9A-40E1-8143-F1BCFDA0E686}" type="presOf" srcId="{FE4593CF-C13F-4256-BA07-105D3ACE2763}" destId="{F5B7DA6A-A105-4595-9AE7-88098F1C98B8}" srcOrd="1" destOrd="0" presId="urn:microsoft.com/office/officeart/2008/layout/HorizontalMultiLevelHierarchy"/>
    <dgm:cxn modelId="{622CF93C-7659-4A31-9F35-14E72885456C}" type="presOf" srcId="{0F2E5027-9B0F-4B35-A34B-3D1CC270CE82}" destId="{C60FFC55-416F-4F71-82BF-98E6E75B44E5}" srcOrd="0" destOrd="0" presId="urn:microsoft.com/office/officeart/2008/layout/HorizontalMultiLevelHierarchy"/>
    <dgm:cxn modelId="{F6FD185F-5C2D-4BB8-8D28-19BC393EA505}" type="presOf" srcId="{2FD2CDF8-DAFE-45FE-8E70-7C3E037846AF}" destId="{A2A010F9-72C9-463A-9219-9F73C3936693}" srcOrd="0" destOrd="0" presId="urn:microsoft.com/office/officeart/2008/layout/HorizontalMultiLevelHierarchy"/>
    <dgm:cxn modelId="{34EE4961-6A73-4DC8-AA3F-05B10726F0F3}" type="presOf" srcId="{BDA1CDFE-67C9-49B3-BB47-A4AB53D1D09B}" destId="{531D771A-3BCA-4170-B3F9-62C090CEE7A5}" srcOrd="1" destOrd="0" presId="urn:microsoft.com/office/officeart/2008/layout/HorizontalMultiLevelHierarchy"/>
    <dgm:cxn modelId="{26093243-98AB-47B9-82FC-BC5D4C4115E9}" type="presOf" srcId="{5CE4FEA0-5412-4531-9C91-38A14BA230FD}" destId="{CB83E30A-8604-490A-933F-AB60ED907450}" srcOrd="0" destOrd="0" presId="urn:microsoft.com/office/officeart/2008/layout/HorizontalMultiLevelHierarchy"/>
    <dgm:cxn modelId="{AB4C7E63-C725-461D-A811-1E88B5AF3F72}" srcId="{6CA75B29-9673-46EC-8E34-8E4F8CF6E4FF}" destId="{59D52A10-7408-4E18-B768-5B1862BC1221}" srcOrd="4" destOrd="0" parTransId="{25BCA4B3-FA12-44D9-9546-E84E82609CE4}" sibTransId="{DCED5760-7848-4224-A88D-CB5C751FDB76}"/>
    <dgm:cxn modelId="{0B95CA65-F71B-47EE-8F71-ABA08D09DC84}" type="presOf" srcId="{BDA1CDFE-67C9-49B3-BB47-A4AB53D1D09B}" destId="{685D5FB3-3D96-4673-BC66-7E0B1A449969}" srcOrd="0" destOrd="0" presId="urn:microsoft.com/office/officeart/2008/layout/HorizontalMultiLevelHierarchy"/>
    <dgm:cxn modelId="{DA1F1546-C5E9-47AC-85DA-291C28E242F9}" type="presOf" srcId="{E91E9CC3-A829-4395-A0DD-D3C3412A5B1F}" destId="{47BE9681-8F36-4B3D-9605-31CF2BF03AE2}" srcOrd="1" destOrd="0" presId="urn:microsoft.com/office/officeart/2008/layout/HorizontalMultiLevelHierarchy"/>
    <dgm:cxn modelId="{BAED8F66-064D-47B0-AE09-45BE8BBBF7F9}" srcId="{59D52A10-7408-4E18-B768-5B1862BC1221}" destId="{FE6CECF1-6E4B-4FEC-8CED-6B1BAB13D0FC}" srcOrd="2" destOrd="0" parTransId="{36E50ACF-DCDA-4D43-9CFE-27A130AD9349}" sibTransId="{AEC36C48-8FC5-496B-BB2F-C00A94BC759B}"/>
    <dgm:cxn modelId="{B2FD9967-7C36-402E-AD4F-D216B036027A}" type="presOf" srcId="{4EAF11C9-93B7-4C13-9968-0074A814F253}" destId="{7BC0D74C-0A0B-41F1-BCFC-4658F7775DA5}" srcOrd="0" destOrd="0" presId="urn:microsoft.com/office/officeart/2008/layout/HorizontalMultiLevelHierarchy"/>
    <dgm:cxn modelId="{63BDE367-8648-4487-9E4B-6C6B95715EAD}" srcId="{C10DCD7A-705F-4E7F-86FA-144D25B4E59F}" destId="{E2C27B8E-6623-45FC-BF6D-685B79F7B60C}" srcOrd="0" destOrd="0" parTransId="{32503472-A971-4593-980B-EC40785E2E86}" sibTransId="{02B8112D-7506-40A5-910B-F58FDF70F08E}"/>
    <dgm:cxn modelId="{3A1DCB6C-4AA2-43E1-A0B9-B4A333D8F836}" type="presOf" srcId="{30A1C8CB-ED4D-4C1A-B0BF-D93BAB884117}" destId="{6F79B5D2-7E4A-4D3A-BA2C-D1B1993566FF}" srcOrd="0" destOrd="0" presId="urn:microsoft.com/office/officeart/2008/layout/HorizontalMultiLevelHierarchy"/>
    <dgm:cxn modelId="{F698326F-63ED-40AC-A966-E7862AAC2AD8}" type="presOf" srcId="{ACA0728B-712F-4B3C-86BD-38646A7CB2A1}" destId="{BBF87EFD-83B7-4137-848E-C8F3B667FF85}" srcOrd="0" destOrd="0" presId="urn:microsoft.com/office/officeart/2008/layout/HorizontalMultiLevelHierarchy"/>
    <dgm:cxn modelId="{E6DC7D50-F8B3-4842-9772-4970CCA16FF7}" type="presOf" srcId="{77A83BA2-1D99-4AE8-9794-C2C53B49A546}" destId="{EE5A1DDC-B5C8-46F5-813F-6EFB2D5D1857}" srcOrd="0" destOrd="0" presId="urn:microsoft.com/office/officeart/2008/layout/HorizontalMultiLevelHierarchy"/>
    <dgm:cxn modelId="{27954754-44A9-4F55-8532-6A9E011ACDC8}" srcId="{6CA75B29-9673-46EC-8E34-8E4F8CF6E4FF}" destId="{A5190D3C-1653-4748-B7FB-567C645710BD}" srcOrd="2" destOrd="0" parTransId="{BDA1CDFE-67C9-49B3-BB47-A4AB53D1D09B}" sibTransId="{229EC256-333A-4540-8792-062C883DDB10}"/>
    <dgm:cxn modelId="{321FAD56-78BD-47C2-99C8-6F182446DF0F}" type="presOf" srcId="{BFCF13F0-986C-4BF6-9569-C0955A558D5A}" destId="{4064A01A-4576-4D47-A1FC-9AA6612F23BC}" srcOrd="0" destOrd="0" presId="urn:microsoft.com/office/officeart/2008/layout/HorizontalMultiLevelHierarchy"/>
    <dgm:cxn modelId="{63FEEA76-3742-46B9-B9A3-CD90975DE735}" type="presOf" srcId="{407AFA0C-C5D7-4367-B72F-9995DC652BC4}" destId="{CA5E1CDE-EE34-49E9-B13A-CD9871616054}" srcOrd="0" destOrd="0" presId="urn:microsoft.com/office/officeart/2008/layout/HorizontalMultiLevelHierarchy"/>
    <dgm:cxn modelId="{A48C0877-4E2E-4EE6-8C0F-B1B563568318}" srcId="{8AE726B4-D4F7-47BF-9CBB-8EAC45BFDAC7}" destId="{77A83BA2-1D99-4AE8-9794-C2C53B49A546}" srcOrd="1" destOrd="0" parTransId="{368BC393-302F-4E8D-A694-5FEE3C8156A9}" sibTransId="{DF971780-5934-4D74-8CD6-74A92C6C7AFD}"/>
    <dgm:cxn modelId="{98B80978-1B74-4FDB-B70D-5200C989B2FB}" type="presOf" srcId="{E75602A5-AA1E-4EA6-A090-4F8B4C263E1A}" destId="{FD0A73E6-0E36-4796-9463-60E8DC832422}" srcOrd="1" destOrd="0" presId="urn:microsoft.com/office/officeart/2008/layout/HorizontalMultiLevelHierarchy"/>
    <dgm:cxn modelId="{7232FC7A-4B88-4010-B5C4-8C53EAAF8AF1}" type="presOf" srcId="{36E50ACF-DCDA-4D43-9CFE-27A130AD9349}" destId="{C33307B2-05A2-4B5A-9CB7-B66B64051799}" srcOrd="1" destOrd="0" presId="urn:microsoft.com/office/officeart/2008/layout/HorizontalMultiLevelHierarchy"/>
    <dgm:cxn modelId="{83C8E77D-E280-4C60-94E7-00D6F04A9815}" type="presOf" srcId="{32503472-A971-4593-980B-EC40785E2E86}" destId="{16E275CD-414B-4163-A587-1A1B467717BB}" srcOrd="0" destOrd="0" presId="urn:microsoft.com/office/officeart/2008/layout/HorizontalMultiLevelHierarchy"/>
    <dgm:cxn modelId="{3175667F-E85E-41F3-A177-432A6104EB8E}" type="presOf" srcId="{25BCA4B3-FA12-44D9-9546-E84E82609CE4}" destId="{51FD1F7F-2985-45FD-8DC7-6C51BC0BFB40}" srcOrd="0" destOrd="0" presId="urn:microsoft.com/office/officeart/2008/layout/HorizontalMultiLevelHierarchy"/>
    <dgm:cxn modelId="{7A8CE67F-D9E8-475D-BFA2-B4BE7CC966D5}" srcId="{A5190D3C-1653-4748-B7FB-567C645710BD}" destId="{0F2E5027-9B0F-4B35-A34B-3D1CC270CE82}" srcOrd="0" destOrd="0" parTransId="{F6147454-B1C9-461C-AEAE-FD2318D6451F}" sibTransId="{FB26B502-28B6-4ABA-A6C9-FD62393DF758}"/>
    <dgm:cxn modelId="{A4B19E89-383F-4B1A-B6B6-9141C3A1E7F1}" srcId="{42FDF035-D0C7-427F-B020-89280DDD59D9}" destId="{C2D1F074-C05D-4590-97FE-204461DA5683}" srcOrd="2" destOrd="0" parTransId="{0BBD454E-0CAA-42AC-8920-1D3C96CB40E8}" sibTransId="{5CAEEE60-0B5C-40F0-B07A-A43995896CCD}"/>
    <dgm:cxn modelId="{10EC148E-8091-4F78-8FDB-AA3CD51C72B3}" type="presOf" srcId="{3C9C4B77-5335-4699-945E-246E6D3A1B78}" destId="{D491C935-11FD-40C5-B1C4-4BBD6FAA4953}" srcOrd="0" destOrd="0" presId="urn:microsoft.com/office/officeart/2008/layout/HorizontalMultiLevelHierarchy"/>
    <dgm:cxn modelId="{CEE3C68E-21C3-45FC-AA48-F8AA39A7A41D}" type="presOf" srcId="{2FD2CDF8-DAFE-45FE-8E70-7C3E037846AF}" destId="{420FAE1C-F59C-460D-A223-906310276858}" srcOrd="1" destOrd="0" presId="urn:microsoft.com/office/officeart/2008/layout/HorizontalMultiLevelHierarchy"/>
    <dgm:cxn modelId="{F237E090-58A8-4C2B-AE23-ACAF7721C92B}" srcId="{407AFA0C-C5D7-4367-B72F-9995DC652BC4}" destId="{6CA75B29-9673-46EC-8E34-8E4F8CF6E4FF}" srcOrd="0" destOrd="0" parTransId="{5D9791D1-2DE4-4F16-A48F-458343A879E1}" sibTransId="{F9AE63BF-A3E8-4124-BF94-A8208570FBA7}"/>
    <dgm:cxn modelId="{495DFF91-BCE0-4774-A959-C3074EA3A5F0}" srcId="{59D52A10-7408-4E18-B768-5B1862BC1221}" destId="{F5C02462-80CC-405C-B1F5-1E2FE75EA829}" srcOrd="0" destOrd="0" parTransId="{C5299E4E-BD96-4595-BE34-EFC808AA5181}" sibTransId="{CF3CA44D-9F91-47DF-AA3C-A0D7C972BDA4}"/>
    <dgm:cxn modelId="{01536E96-41C1-49E5-9994-5A3867991B41}" type="presOf" srcId="{02883DD9-727D-411A-8AE6-C681F325D7FE}" destId="{6063A79A-50F6-4A86-89E4-0D24D890CA06}" srcOrd="0" destOrd="0" presId="urn:microsoft.com/office/officeart/2008/layout/HorizontalMultiLevelHierarchy"/>
    <dgm:cxn modelId="{481DF89A-475E-45DB-BAE3-59DCC9F76D46}" type="presOf" srcId="{BBFE7A37-3D95-4E41-BAE2-E34D6010EF92}" destId="{DA4FFE79-9294-4426-A333-3BE4D1E5EF8A}" srcOrd="1" destOrd="0" presId="urn:microsoft.com/office/officeart/2008/layout/HorizontalMultiLevelHierarchy"/>
    <dgm:cxn modelId="{5D03BF9B-38A5-41B3-975B-6D65A6F9E827}" srcId="{59D52A10-7408-4E18-B768-5B1862BC1221}" destId="{42FDF035-D0C7-427F-B020-89280DDD59D9}" srcOrd="1" destOrd="0" parTransId="{38EB19B5-80E1-4B4F-AE54-F53E7DC275D6}" sibTransId="{43E99951-1D21-418E-895B-B827B11490B8}"/>
    <dgm:cxn modelId="{D278A0A0-5E91-4F73-91CC-3147C7689FC2}" type="presOf" srcId="{FE6CECF1-6E4B-4FEC-8CED-6B1BAB13D0FC}" destId="{C4CD4FF9-2447-4D5D-9C01-9FD2942E01EA}" srcOrd="0" destOrd="0" presId="urn:microsoft.com/office/officeart/2008/layout/HorizontalMultiLevelHierarchy"/>
    <dgm:cxn modelId="{08F6A8A0-0147-4A20-93C2-AD7F7B4908C1}" type="presOf" srcId="{5A63E263-BFA8-4328-B8D0-C66651AE285E}" destId="{965CC56C-3A11-4A77-89EA-60722CD5EE89}" srcOrd="0" destOrd="0" presId="urn:microsoft.com/office/officeart/2008/layout/HorizontalMultiLevelHierarchy"/>
    <dgm:cxn modelId="{73E750A1-C5A7-437C-BA87-9233C846F64E}" srcId="{C10DCD7A-705F-4E7F-86FA-144D25B4E59F}" destId="{30A1C8CB-ED4D-4C1A-B0BF-D93BAB884117}" srcOrd="1" destOrd="0" parTransId="{DF78943F-8856-475B-A0BC-8BD59FBB01FF}" sibTransId="{62EF9020-6527-4AE0-88C0-7D65D8FC0EC1}"/>
    <dgm:cxn modelId="{65A523A3-4CE8-45E2-90E7-CBDDD505886D}" type="presOf" srcId="{444DD194-6BF1-4584-AABD-18574447A3A5}" destId="{C1C55A0C-0EB3-436A-8CB3-AF608DC0D1B1}" srcOrd="0" destOrd="0" presId="urn:microsoft.com/office/officeart/2008/layout/HorizontalMultiLevelHierarchy"/>
    <dgm:cxn modelId="{2FE2E3A7-19CC-4598-9E66-2D4150D03E4A}" srcId="{30A1C8CB-ED4D-4C1A-B0BF-D93BAB884117}" destId="{756D261A-F34D-43DF-8BE9-55EF4B849F14}" srcOrd="0" destOrd="0" parTransId="{E75602A5-AA1E-4EA6-A090-4F8B4C263E1A}" sibTransId="{00A23E62-802E-4B1F-A0B6-935D4B4541E4}"/>
    <dgm:cxn modelId="{D16DAAA8-7061-47E2-B4C1-EB07699ABA27}" type="presOf" srcId="{BFCF13F0-986C-4BF6-9569-C0955A558D5A}" destId="{0C29FBE1-3AE3-454C-86A4-C302736CCB88}" srcOrd="1" destOrd="0" presId="urn:microsoft.com/office/officeart/2008/layout/HorizontalMultiLevelHierarchy"/>
    <dgm:cxn modelId="{861D0FAB-C22B-4249-AA96-E5656A63FC01}" type="presOf" srcId="{36E50ACF-DCDA-4D43-9CFE-27A130AD9349}" destId="{F080F4EC-EA06-4946-9B51-572374DFF990}" srcOrd="0" destOrd="0" presId="urn:microsoft.com/office/officeart/2008/layout/HorizontalMultiLevelHierarchy"/>
    <dgm:cxn modelId="{83ABCCAD-73E3-4921-8ED7-71540DE23232}" srcId="{5A63E263-BFA8-4328-B8D0-C66651AE285E}" destId="{6186BB24-D4A6-4459-9F22-15BE46312764}" srcOrd="0" destOrd="0" parTransId="{BFCF13F0-986C-4BF6-9569-C0955A558D5A}" sibTransId="{AAA8016D-5D77-47FA-8C34-0DE8EA719462}"/>
    <dgm:cxn modelId="{E9F1C0B3-5AB3-40C2-A2CF-D7E723BECB97}" type="presOf" srcId="{C5299E4E-BD96-4595-BE34-EFC808AA5181}" destId="{72784062-1309-4EC6-B7C6-9A29AC3AE8FC}" srcOrd="1" destOrd="0" presId="urn:microsoft.com/office/officeart/2008/layout/HorizontalMultiLevelHierarchy"/>
    <dgm:cxn modelId="{9F10EDB4-2C9C-46D1-90DF-49165B258EAD}" srcId="{6CA75B29-9673-46EC-8E34-8E4F8CF6E4FF}" destId="{F337BB20-7C4E-4D2C-AC3F-0494DC682F86}" srcOrd="3" destOrd="0" parTransId="{A1169F5C-DFCC-4BD1-B4D3-EF1A0E191E13}" sibTransId="{82F3AAF0-5965-4569-B6FB-79EC6EB7B4AE}"/>
    <dgm:cxn modelId="{F79901B5-93AC-4EB5-8E2F-8ED7D9210728}" type="presOf" srcId="{BFC81B23-13A1-4020-B359-E48E04408DF2}" destId="{BC2AA862-75E1-40A4-983A-4F9255027B61}" srcOrd="1" destOrd="0" presId="urn:microsoft.com/office/officeart/2008/layout/HorizontalMultiLevelHierarchy"/>
    <dgm:cxn modelId="{8210BBB5-C780-4860-BD72-D530C4AC8FE9}" srcId="{6CA75B29-9673-46EC-8E34-8E4F8CF6E4FF}" destId="{C10DCD7A-705F-4E7F-86FA-144D25B4E59F}" srcOrd="0" destOrd="0" parTransId="{F7252005-0D7B-4492-A4B5-642676C151E9}" sibTransId="{847351E0-AE8A-4936-A9E8-37C432DEDF47}"/>
    <dgm:cxn modelId="{54F0F0B7-8F72-429F-95F4-E59DDF484FD9}" type="presOf" srcId="{F337BB20-7C4E-4D2C-AC3F-0494DC682F86}" destId="{A4DE185A-BB51-4E89-B082-DF109C0EDBE6}" srcOrd="0" destOrd="0" presId="urn:microsoft.com/office/officeart/2008/layout/HorizontalMultiLevelHierarchy"/>
    <dgm:cxn modelId="{CC4E43BA-3C85-4F27-9492-0A3DD0181DB0}" type="presOf" srcId="{8AE726B4-D4F7-47BF-9CBB-8EAC45BFDAC7}" destId="{8EF28210-AB49-4103-91CA-E75047331787}" srcOrd="0" destOrd="0" presId="urn:microsoft.com/office/officeart/2008/layout/HorizontalMultiLevelHierarchy"/>
    <dgm:cxn modelId="{DD0F4EBA-75F2-4D10-B14F-79D65456E9FA}" type="presOf" srcId="{368BC393-302F-4E8D-A694-5FEE3C8156A9}" destId="{4D6D61AF-7AD1-4C57-BF82-B55466AD7F79}" srcOrd="1" destOrd="0" presId="urn:microsoft.com/office/officeart/2008/layout/HorizontalMultiLevelHierarchy"/>
    <dgm:cxn modelId="{169F3EBC-69A8-47EF-A23C-863D9E7B7ECE}" srcId="{6CA75B29-9673-46EC-8E34-8E4F8CF6E4FF}" destId="{8AE726B4-D4F7-47BF-9CBB-8EAC45BFDAC7}" srcOrd="1" destOrd="0" parTransId="{5CE4FEA0-5412-4531-9C91-38A14BA230FD}" sibTransId="{55ACB9FB-D11C-4F93-ACFB-AD7A06B2AEA0}"/>
    <dgm:cxn modelId="{543680BC-7C78-4970-BD58-259D0A578907}" type="presOf" srcId="{BFC81B23-13A1-4020-B359-E48E04408DF2}" destId="{469408BB-2710-4F7D-95E1-9E2B7A45EE24}" srcOrd="0" destOrd="0" presId="urn:microsoft.com/office/officeart/2008/layout/HorizontalMultiLevelHierarchy"/>
    <dgm:cxn modelId="{B6F0C8BF-A1F3-4022-996D-473BC2F5B449}" type="presOf" srcId="{A1169F5C-DFCC-4BD1-B4D3-EF1A0E191E13}" destId="{85646D21-05C6-4EEB-9174-89486A0AB004}" srcOrd="0" destOrd="0" presId="urn:microsoft.com/office/officeart/2008/layout/HorizontalMultiLevelHierarchy"/>
    <dgm:cxn modelId="{C13EC1C2-4EBA-458A-B527-CC32886D82C6}" srcId="{42FDF035-D0C7-427F-B020-89280DDD59D9}" destId="{ACA0728B-712F-4B3C-86BD-38646A7CB2A1}" srcOrd="0" destOrd="0" parTransId="{BFC81B23-13A1-4020-B359-E48E04408DF2}" sibTransId="{7FC23284-9F83-4F78-9616-4F9DC389EFBD}"/>
    <dgm:cxn modelId="{972489C3-4050-4389-8BCC-7294847E57D9}" srcId="{8AE726B4-D4F7-47BF-9CBB-8EAC45BFDAC7}" destId="{02883DD9-727D-411A-8AE6-C681F325D7FE}" srcOrd="0" destOrd="0" parTransId="{E91E9CC3-A829-4395-A0DD-D3C3412A5B1F}" sibTransId="{F093CB94-F469-4041-AC46-033813606AFE}"/>
    <dgm:cxn modelId="{CAE0B5C3-B460-4954-93F9-8960768749BB}" type="presOf" srcId="{5CE4FEA0-5412-4531-9C91-38A14BA230FD}" destId="{B642C9DA-4CEE-4EF2-B65C-6B82B239BE8F}" srcOrd="1" destOrd="0" presId="urn:microsoft.com/office/officeart/2008/layout/HorizontalMultiLevelHierarchy"/>
    <dgm:cxn modelId="{FD9EE3C5-905A-4034-9858-417BDECF9BA5}" type="presOf" srcId="{59D52A10-7408-4E18-B768-5B1862BC1221}" destId="{5B7BA061-F2AF-4778-9B0A-DFF22F815B76}" srcOrd="0" destOrd="0" presId="urn:microsoft.com/office/officeart/2008/layout/HorizontalMultiLevelHierarchy"/>
    <dgm:cxn modelId="{8C1791C6-9729-498E-95A3-E254580FABBC}" srcId="{6CA75B29-9673-46EC-8E34-8E4F8CF6E4FF}" destId="{5A63E263-BFA8-4328-B8D0-C66651AE285E}" srcOrd="5" destOrd="0" parTransId="{2FD2CDF8-DAFE-45FE-8E70-7C3E037846AF}" sibTransId="{9C43C614-A292-4EBD-A620-1194FC93DE6D}"/>
    <dgm:cxn modelId="{C09FDDC7-C8BD-4E0C-A734-B9D05A7AF037}" type="presOf" srcId="{DF78943F-8856-475B-A0BC-8BD59FBB01FF}" destId="{07673AEE-F0C1-4B41-9990-28C916F2A625}" srcOrd="1" destOrd="0" presId="urn:microsoft.com/office/officeart/2008/layout/HorizontalMultiLevelHierarchy"/>
    <dgm:cxn modelId="{96FB46C8-7EB5-49BF-AB96-48E2631B2378}" type="presOf" srcId="{DF78943F-8856-475B-A0BC-8BD59FBB01FF}" destId="{EFED6919-8E77-41A8-B6CE-D9017F12B351}" srcOrd="0" destOrd="0" presId="urn:microsoft.com/office/officeart/2008/layout/HorizontalMultiLevelHierarchy"/>
    <dgm:cxn modelId="{E1A8CFC8-33F9-4574-96C9-5C5D5E9A2427}" type="presOf" srcId="{A3035F28-9FA5-4C36-A832-A770FBF1845A}" destId="{A5C40D7D-AC2A-4546-92BA-69ADD088D6A2}" srcOrd="0" destOrd="0" presId="urn:microsoft.com/office/officeart/2008/layout/HorizontalMultiLevelHierarchy"/>
    <dgm:cxn modelId="{786BE4CA-777B-4F45-B1CB-51A4A6725E37}" type="presOf" srcId="{756D261A-F34D-43DF-8BE9-55EF4B849F14}" destId="{C80EA913-51F2-4187-8F5B-DA6782CC91A5}" srcOrd="0" destOrd="0" presId="urn:microsoft.com/office/officeart/2008/layout/HorizontalMultiLevelHierarchy"/>
    <dgm:cxn modelId="{0F2132CC-1D8A-48A0-8884-85556BD5FC2E}" type="presOf" srcId="{C10DCD7A-705F-4E7F-86FA-144D25B4E59F}" destId="{69642ACC-D964-4F75-86FA-1356887F7480}" srcOrd="0" destOrd="0" presId="urn:microsoft.com/office/officeart/2008/layout/HorizontalMultiLevelHierarchy"/>
    <dgm:cxn modelId="{224C22CE-487F-4C7F-9786-31DE75FF7F8A}" type="presOf" srcId="{A1169F5C-DFCC-4BD1-B4D3-EF1A0E191E13}" destId="{1F097970-2C87-447B-8577-155A6C5043DA}" srcOrd="1" destOrd="0" presId="urn:microsoft.com/office/officeart/2008/layout/HorizontalMultiLevelHierarchy"/>
    <dgm:cxn modelId="{5771D3CE-06D2-4EAE-A119-521DD0D7D642}" type="presOf" srcId="{FE4593CF-C13F-4256-BA07-105D3ACE2763}" destId="{5B669DDC-91B2-42AB-91B5-AFAEED8C915A}" srcOrd="0" destOrd="0" presId="urn:microsoft.com/office/officeart/2008/layout/HorizontalMultiLevelHierarchy"/>
    <dgm:cxn modelId="{7001ECD5-DC94-4C9D-B55C-156DD73A229C}" type="presOf" srcId="{F5C02462-80CC-405C-B1F5-1E2FE75EA829}" destId="{95E94648-C953-42A4-B330-74379F76D814}" srcOrd="0" destOrd="0" presId="urn:microsoft.com/office/officeart/2008/layout/HorizontalMultiLevelHierarchy"/>
    <dgm:cxn modelId="{7C3DC6E9-342E-40BD-ABF4-37BD2420ADD3}" type="presOf" srcId="{A3035F28-9FA5-4C36-A832-A770FBF1845A}" destId="{042B44FA-CE8C-45FB-A805-85AE734BB2BC}" srcOrd="1" destOrd="0" presId="urn:microsoft.com/office/officeart/2008/layout/HorizontalMultiLevelHierarchy"/>
    <dgm:cxn modelId="{5F5534EB-DDF9-422B-9ADA-B5C425EBAAF5}" type="presOf" srcId="{76DDFF82-3ACD-450D-8742-C73130A4CE78}" destId="{F5FE547B-35A9-4F67-A833-30B8B967EF0A}" srcOrd="0" destOrd="0" presId="urn:microsoft.com/office/officeart/2008/layout/HorizontalMultiLevelHierarchy"/>
    <dgm:cxn modelId="{C4B7EFEB-3575-48E1-80EE-185CEDEE708C}" type="presOf" srcId="{A5190D3C-1653-4748-B7FB-567C645710BD}" destId="{8F016FB7-B854-400F-ABEF-7F507BEC17AA}" srcOrd="0" destOrd="0" presId="urn:microsoft.com/office/officeart/2008/layout/HorizontalMultiLevelHierarchy"/>
    <dgm:cxn modelId="{514FE8ED-23F8-4372-BA88-67448B0C7CD8}" srcId="{0F2E5027-9B0F-4B35-A34B-3D1CC270CE82}" destId="{70836529-46A5-4653-9BD3-713D24F5881E}" srcOrd="0" destOrd="0" parTransId="{A3035F28-9FA5-4C36-A832-A770FBF1845A}" sibTransId="{53E57187-A353-41DB-8FBC-16CCECE59A8F}"/>
    <dgm:cxn modelId="{04050DEF-FBB4-43FA-96F4-270794CBEDBC}" type="presOf" srcId="{76DDFF82-3ACD-450D-8742-C73130A4CE78}" destId="{94723814-06E9-46F8-8DAA-864EC2ABAC8A}" srcOrd="1" destOrd="0" presId="urn:microsoft.com/office/officeart/2008/layout/HorizontalMultiLevelHierarchy"/>
    <dgm:cxn modelId="{D9FE48F0-7DF6-47C3-A630-657001B9E933}" srcId="{42FDF035-D0C7-427F-B020-89280DDD59D9}" destId="{3C9C4B77-5335-4699-945E-246E6D3A1B78}" srcOrd="1" destOrd="0" parTransId="{BBFE7A37-3D95-4E41-BAE2-E34D6010EF92}" sibTransId="{3EB46468-DB23-4BEF-8C20-5F5D668574EB}"/>
    <dgm:cxn modelId="{A4F7A2F3-94E8-4148-8954-1E3C00CC9CD2}" srcId="{F337BB20-7C4E-4D2C-AC3F-0494DC682F86}" destId="{4EAF11C9-93B7-4C13-9968-0074A814F253}" srcOrd="0" destOrd="0" parTransId="{76DDFF82-3ACD-450D-8742-C73130A4CE78}" sibTransId="{09A73ECF-7289-489C-B563-9CFCB8C4A8BE}"/>
    <dgm:cxn modelId="{03E2B7F5-A84D-407C-9A53-45BBAA8CFC95}" type="presOf" srcId="{F6147454-B1C9-461C-AEAE-FD2318D6451F}" destId="{F2457455-AAB0-4F29-A507-E0A963CAB068}" srcOrd="0" destOrd="0" presId="urn:microsoft.com/office/officeart/2008/layout/HorizontalMultiLevelHierarchy"/>
    <dgm:cxn modelId="{AE157FF8-D3BE-4D4E-ADE0-2525D6C32D1F}" type="presOf" srcId="{F6147454-B1C9-461C-AEAE-FD2318D6451F}" destId="{A7AEE5DA-C7B7-47D4-A972-11A15D9AD927}" srcOrd="1" destOrd="0" presId="urn:microsoft.com/office/officeart/2008/layout/HorizontalMultiLevelHierarchy"/>
    <dgm:cxn modelId="{9529512D-E527-4462-B405-86233A913238}" type="presParOf" srcId="{CA5E1CDE-EE34-49E9-B13A-CD9871616054}" destId="{A2DF0522-355D-49C8-9F8A-91BBAC7A2EF6}" srcOrd="0" destOrd="0" presId="urn:microsoft.com/office/officeart/2008/layout/HorizontalMultiLevelHierarchy"/>
    <dgm:cxn modelId="{C66402FF-E595-4C77-84D0-8A5D8D927911}" type="presParOf" srcId="{A2DF0522-355D-49C8-9F8A-91BBAC7A2EF6}" destId="{876B423C-3190-4967-83DF-0604BBCB998D}" srcOrd="0" destOrd="0" presId="urn:microsoft.com/office/officeart/2008/layout/HorizontalMultiLevelHierarchy"/>
    <dgm:cxn modelId="{D6703E16-8EE7-400C-BF38-07DB96323765}" type="presParOf" srcId="{A2DF0522-355D-49C8-9F8A-91BBAC7A2EF6}" destId="{70CE364E-100C-4598-9D18-E14E5B3139E0}" srcOrd="1" destOrd="0" presId="urn:microsoft.com/office/officeart/2008/layout/HorizontalMultiLevelHierarchy"/>
    <dgm:cxn modelId="{0EFF55DC-4C4D-4591-AD3D-7D29B0EAB55F}" type="presParOf" srcId="{70CE364E-100C-4598-9D18-E14E5B3139E0}" destId="{B3D9707A-48A8-4657-BAA8-66893CC809F6}" srcOrd="0" destOrd="0" presId="urn:microsoft.com/office/officeart/2008/layout/HorizontalMultiLevelHierarchy"/>
    <dgm:cxn modelId="{8318CB9C-F2DB-4638-B7C5-201AEEE9CCF3}" type="presParOf" srcId="{B3D9707A-48A8-4657-BAA8-66893CC809F6}" destId="{5B104067-0F14-46A9-A868-E97980CB7F99}" srcOrd="0" destOrd="0" presId="urn:microsoft.com/office/officeart/2008/layout/HorizontalMultiLevelHierarchy"/>
    <dgm:cxn modelId="{D957F41F-5014-4951-8064-56B08F12B6C3}" type="presParOf" srcId="{70CE364E-100C-4598-9D18-E14E5B3139E0}" destId="{2F1D9F84-2247-4F97-9258-DD467DD68E4F}" srcOrd="1" destOrd="0" presId="urn:microsoft.com/office/officeart/2008/layout/HorizontalMultiLevelHierarchy"/>
    <dgm:cxn modelId="{10544276-19E4-4A5A-A909-9860A57749AE}" type="presParOf" srcId="{2F1D9F84-2247-4F97-9258-DD467DD68E4F}" destId="{69642ACC-D964-4F75-86FA-1356887F7480}" srcOrd="0" destOrd="0" presId="urn:microsoft.com/office/officeart/2008/layout/HorizontalMultiLevelHierarchy"/>
    <dgm:cxn modelId="{B298F8D9-84D3-45BD-B7B6-8A42C75309D4}" type="presParOf" srcId="{2F1D9F84-2247-4F97-9258-DD467DD68E4F}" destId="{1354A0EE-F4D3-435B-84C0-3B0AA89D9558}" srcOrd="1" destOrd="0" presId="urn:microsoft.com/office/officeart/2008/layout/HorizontalMultiLevelHierarchy"/>
    <dgm:cxn modelId="{62861CC1-D73F-42DF-806E-102AC2588483}" type="presParOf" srcId="{1354A0EE-F4D3-435B-84C0-3B0AA89D9558}" destId="{16E275CD-414B-4163-A587-1A1B467717BB}" srcOrd="0" destOrd="0" presId="urn:microsoft.com/office/officeart/2008/layout/HorizontalMultiLevelHierarchy"/>
    <dgm:cxn modelId="{53519EA1-47AB-4DEC-90EA-657AF3E038DD}" type="presParOf" srcId="{16E275CD-414B-4163-A587-1A1B467717BB}" destId="{767AD607-DFC0-4024-A6FC-1C055B6EE944}" srcOrd="0" destOrd="0" presId="urn:microsoft.com/office/officeart/2008/layout/HorizontalMultiLevelHierarchy"/>
    <dgm:cxn modelId="{C2E37653-1223-498B-85F4-32050E5B7849}" type="presParOf" srcId="{1354A0EE-F4D3-435B-84C0-3B0AA89D9558}" destId="{A69A2499-F901-480E-8474-FA1C2A08EC91}" srcOrd="1" destOrd="0" presId="urn:microsoft.com/office/officeart/2008/layout/HorizontalMultiLevelHierarchy"/>
    <dgm:cxn modelId="{80937213-310A-4F92-8F96-EC63A9352F83}" type="presParOf" srcId="{A69A2499-F901-480E-8474-FA1C2A08EC91}" destId="{A9058AEE-7BCF-443F-92DC-1ECF49ECE324}" srcOrd="0" destOrd="0" presId="urn:microsoft.com/office/officeart/2008/layout/HorizontalMultiLevelHierarchy"/>
    <dgm:cxn modelId="{3C7C6A39-071D-40ED-A2DD-A2904F6B3341}" type="presParOf" srcId="{A69A2499-F901-480E-8474-FA1C2A08EC91}" destId="{145BD7BC-378C-4D1A-BB59-54783CD4F245}" srcOrd="1" destOrd="0" presId="urn:microsoft.com/office/officeart/2008/layout/HorizontalMultiLevelHierarchy"/>
    <dgm:cxn modelId="{76312E27-4236-4785-9ACA-D0020320FFD0}" type="presParOf" srcId="{1354A0EE-F4D3-435B-84C0-3B0AA89D9558}" destId="{EFED6919-8E77-41A8-B6CE-D9017F12B351}" srcOrd="2" destOrd="0" presId="urn:microsoft.com/office/officeart/2008/layout/HorizontalMultiLevelHierarchy"/>
    <dgm:cxn modelId="{40BDA6F5-AABC-4ED2-A2C7-30C606D8AA94}" type="presParOf" srcId="{EFED6919-8E77-41A8-B6CE-D9017F12B351}" destId="{07673AEE-F0C1-4B41-9990-28C916F2A625}" srcOrd="0" destOrd="0" presId="urn:microsoft.com/office/officeart/2008/layout/HorizontalMultiLevelHierarchy"/>
    <dgm:cxn modelId="{09C8983D-D8BC-417E-AE89-1843DAEE2B6C}" type="presParOf" srcId="{1354A0EE-F4D3-435B-84C0-3B0AA89D9558}" destId="{0C5C7D98-A399-4856-BEA3-13AA6308F3B1}" srcOrd="3" destOrd="0" presId="urn:microsoft.com/office/officeart/2008/layout/HorizontalMultiLevelHierarchy"/>
    <dgm:cxn modelId="{44C5E87F-5B12-4811-91D3-77AC2031629A}" type="presParOf" srcId="{0C5C7D98-A399-4856-BEA3-13AA6308F3B1}" destId="{6F79B5D2-7E4A-4D3A-BA2C-D1B1993566FF}" srcOrd="0" destOrd="0" presId="urn:microsoft.com/office/officeart/2008/layout/HorizontalMultiLevelHierarchy"/>
    <dgm:cxn modelId="{7705BD5F-4EE4-48DE-B1DD-8D0CCB88BE0D}" type="presParOf" srcId="{0C5C7D98-A399-4856-BEA3-13AA6308F3B1}" destId="{5F599C3A-A074-4321-90FD-7CC3E9BC761C}" srcOrd="1" destOrd="0" presId="urn:microsoft.com/office/officeart/2008/layout/HorizontalMultiLevelHierarchy"/>
    <dgm:cxn modelId="{744B9DAE-EFF5-4AC7-856C-C59C33FFBC1B}" type="presParOf" srcId="{5F599C3A-A074-4321-90FD-7CC3E9BC761C}" destId="{BEB33D27-711D-47D1-B255-44B8173A0947}" srcOrd="0" destOrd="0" presId="urn:microsoft.com/office/officeart/2008/layout/HorizontalMultiLevelHierarchy"/>
    <dgm:cxn modelId="{C2FBC49B-62A4-4265-969E-0DE9191D0B60}" type="presParOf" srcId="{BEB33D27-711D-47D1-B255-44B8173A0947}" destId="{FD0A73E6-0E36-4796-9463-60E8DC832422}" srcOrd="0" destOrd="0" presId="urn:microsoft.com/office/officeart/2008/layout/HorizontalMultiLevelHierarchy"/>
    <dgm:cxn modelId="{CB5CEFAF-9403-4CE4-8343-00730C3FFCFD}" type="presParOf" srcId="{5F599C3A-A074-4321-90FD-7CC3E9BC761C}" destId="{DF7AAE30-925D-4617-9CEE-C124AA402F77}" srcOrd="1" destOrd="0" presId="urn:microsoft.com/office/officeart/2008/layout/HorizontalMultiLevelHierarchy"/>
    <dgm:cxn modelId="{0F8D198D-14BB-4A24-ACDA-D6A8703D93F3}" type="presParOf" srcId="{DF7AAE30-925D-4617-9CEE-C124AA402F77}" destId="{C80EA913-51F2-4187-8F5B-DA6782CC91A5}" srcOrd="0" destOrd="0" presId="urn:microsoft.com/office/officeart/2008/layout/HorizontalMultiLevelHierarchy"/>
    <dgm:cxn modelId="{0B0A8B75-96D4-4CD5-83B5-7CA9C637AB12}" type="presParOf" srcId="{DF7AAE30-925D-4617-9CEE-C124AA402F77}" destId="{E1E662AB-9221-4872-980A-F643868B4326}" srcOrd="1" destOrd="0" presId="urn:microsoft.com/office/officeart/2008/layout/HorizontalMultiLevelHierarchy"/>
    <dgm:cxn modelId="{FF78C8B2-5C75-4B2C-9437-5C6439C64678}" type="presParOf" srcId="{70CE364E-100C-4598-9D18-E14E5B3139E0}" destId="{CB83E30A-8604-490A-933F-AB60ED907450}" srcOrd="2" destOrd="0" presId="urn:microsoft.com/office/officeart/2008/layout/HorizontalMultiLevelHierarchy"/>
    <dgm:cxn modelId="{FD663D36-B611-4E1A-B71C-85CF0BB18304}" type="presParOf" srcId="{CB83E30A-8604-490A-933F-AB60ED907450}" destId="{B642C9DA-4CEE-4EF2-B65C-6B82B239BE8F}" srcOrd="0" destOrd="0" presId="urn:microsoft.com/office/officeart/2008/layout/HorizontalMultiLevelHierarchy"/>
    <dgm:cxn modelId="{A2B9A63B-9A73-4166-BF9A-E690AA3F5B52}" type="presParOf" srcId="{70CE364E-100C-4598-9D18-E14E5B3139E0}" destId="{920561FE-9464-4EE9-B522-AFBE91E59CD3}" srcOrd="3" destOrd="0" presId="urn:microsoft.com/office/officeart/2008/layout/HorizontalMultiLevelHierarchy"/>
    <dgm:cxn modelId="{BA131405-3A17-4189-9E6C-AEC9FBFC63C5}" type="presParOf" srcId="{920561FE-9464-4EE9-B522-AFBE91E59CD3}" destId="{8EF28210-AB49-4103-91CA-E75047331787}" srcOrd="0" destOrd="0" presId="urn:microsoft.com/office/officeart/2008/layout/HorizontalMultiLevelHierarchy"/>
    <dgm:cxn modelId="{97BFB1A7-67BA-4B19-9D9D-B74811FD92DB}" type="presParOf" srcId="{920561FE-9464-4EE9-B522-AFBE91E59CD3}" destId="{8027366A-9D91-4F51-B9C1-112EA8A0F3E6}" srcOrd="1" destOrd="0" presId="urn:microsoft.com/office/officeart/2008/layout/HorizontalMultiLevelHierarchy"/>
    <dgm:cxn modelId="{74B84C85-1E3D-419E-B659-E7EEFC7C656B}" type="presParOf" srcId="{8027366A-9D91-4F51-B9C1-112EA8A0F3E6}" destId="{C889F40F-93DD-4F14-9077-FD98F85ADDD4}" srcOrd="0" destOrd="0" presId="urn:microsoft.com/office/officeart/2008/layout/HorizontalMultiLevelHierarchy"/>
    <dgm:cxn modelId="{7C97C4A6-6558-4D7A-8435-8A8E59949C24}" type="presParOf" srcId="{C889F40F-93DD-4F14-9077-FD98F85ADDD4}" destId="{47BE9681-8F36-4B3D-9605-31CF2BF03AE2}" srcOrd="0" destOrd="0" presId="urn:microsoft.com/office/officeart/2008/layout/HorizontalMultiLevelHierarchy"/>
    <dgm:cxn modelId="{5E8A5E32-EFE8-4304-8882-E29315C354D9}" type="presParOf" srcId="{8027366A-9D91-4F51-B9C1-112EA8A0F3E6}" destId="{8D4E8915-21EE-4084-9C4F-71D2AA3BFEA0}" srcOrd="1" destOrd="0" presId="urn:microsoft.com/office/officeart/2008/layout/HorizontalMultiLevelHierarchy"/>
    <dgm:cxn modelId="{A7119CA7-6011-4AA1-9B5B-C4BA02E9F005}" type="presParOf" srcId="{8D4E8915-21EE-4084-9C4F-71D2AA3BFEA0}" destId="{6063A79A-50F6-4A86-89E4-0D24D890CA06}" srcOrd="0" destOrd="0" presId="urn:microsoft.com/office/officeart/2008/layout/HorizontalMultiLevelHierarchy"/>
    <dgm:cxn modelId="{C3D862C8-DA7F-418A-9058-24EE3F825996}" type="presParOf" srcId="{8D4E8915-21EE-4084-9C4F-71D2AA3BFEA0}" destId="{18F6D3BB-F1D9-4109-A05F-1846A1AD9F05}" srcOrd="1" destOrd="0" presId="urn:microsoft.com/office/officeart/2008/layout/HorizontalMultiLevelHierarchy"/>
    <dgm:cxn modelId="{FAA8F1F0-CBC7-4715-8985-7643B53AAFFD}" type="presParOf" srcId="{18F6D3BB-F1D9-4109-A05F-1846A1AD9F05}" destId="{5B669DDC-91B2-42AB-91B5-AFAEED8C915A}" srcOrd="0" destOrd="0" presId="urn:microsoft.com/office/officeart/2008/layout/HorizontalMultiLevelHierarchy"/>
    <dgm:cxn modelId="{9A514C68-A900-4FBD-AFEC-96D5446D863B}" type="presParOf" srcId="{5B669DDC-91B2-42AB-91B5-AFAEED8C915A}" destId="{F5B7DA6A-A105-4595-9AE7-88098F1C98B8}" srcOrd="0" destOrd="0" presId="urn:microsoft.com/office/officeart/2008/layout/HorizontalMultiLevelHierarchy"/>
    <dgm:cxn modelId="{3B655EA9-80B6-40D5-BBEB-6DD1CA9AACEA}" type="presParOf" srcId="{18F6D3BB-F1D9-4109-A05F-1846A1AD9F05}" destId="{EEC757C8-EF47-4FF3-9C3F-5BBF0D7F61CB}" srcOrd="1" destOrd="0" presId="urn:microsoft.com/office/officeart/2008/layout/HorizontalMultiLevelHierarchy"/>
    <dgm:cxn modelId="{E31E0E40-CC0A-4CC1-8DE1-B282DE0B1FAC}" type="presParOf" srcId="{EEC757C8-EF47-4FF3-9C3F-5BBF0D7F61CB}" destId="{C1C55A0C-0EB3-436A-8CB3-AF608DC0D1B1}" srcOrd="0" destOrd="0" presId="urn:microsoft.com/office/officeart/2008/layout/HorizontalMultiLevelHierarchy"/>
    <dgm:cxn modelId="{3016D828-2BC6-4AF4-A4E3-4A3B55500187}" type="presParOf" srcId="{EEC757C8-EF47-4FF3-9C3F-5BBF0D7F61CB}" destId="{CF366824-7BA0-48D6-960E-32F19D2640EF}" srcOrd="1" destOrd="0" presId="urn:microsoft.com/office/officeart/2008/layout/HorizontalMultiLevelHierarchy"/>
    <dgm:cxn modelId="{CED3BE2F-06A1-4CBE-A84F-2D8C407E8E63}" type="presParOf" srcId="{8027366A-9D91-4F51-B9C1-112EA8A0F3E6}" destId="{39DBEBB3-55B3-42B2-867C-F17E2DA9C984}" srcOrd="2" destOrd="0" presId="urn:microsoft.com/office/officeart/2008/layout/HorizontalMultiLevelHierarchy"/>
    <dgm:cxn modelId="{F9EE802D-F324-44D4-83D9-A2CBD0D59701}" type="presParOf" srcId="{39DBEBB3-55B3-42B2-867C-F17E2DA9C984}" destId="{4D6D61AF-7AD1-4C57-BF82-B55466AD7F79}" srcOrd="0" destOrd="0" presId="urn:microsoft.com/office/officeart/2008/layout/HorizontalMultiLevelHierarchy"/>
    <dgm:cxn modelId="{91A5C2E3-A308-428D-AD57-32D5EE56C3EA}" type="presParOf" srcId="{8027366A-9D91-4F51-B9C1-112EA8A0F3E6}" destId="{4DDC0CB3-8D9A-4F1A-8432-755A1F5187EC}" srcOrd="3" destOrd="0" presId="urn:microsoft.com/office/officeart/2008/layout/HorizontalMultiLevelHierarchy"/>
    <dgm:cxn modelId="{78E8D716-FD60-441B-B7C7-CF4116F2570E}" type="presParOf" srcId="{4DDC0CB3-8D9A-4F1A-8432-755A1F5187EC}" destId="{EE5A1DDC-B5C8-46F5-813F-6EFB2D5D1857}" srcOrd="0" destOrd="0" presId="urn:microsoft.com/office/officeart/2008/layout/HorizontalMultiLevelHierarchy"/>
    <dgm:cxn modelId="{15D7BF89-D7A7-4915-81BD-22EEB83D0D51}" type="presParOf" srcId="{4DDC0CB3-8D9A-4F1A-8432-755A1F5187EC}" destId="{5BD501D8-6D3E-4591-83BB-9078A6BA217C}" srcOrd="1" destOrd="0" presId="urn:microsoft.com/office/officeart/2008/layout/HorizontalMultiLevelHierarchy"/>
    <dgm:cxn modelId="{7E9EF53B-AF8F-48FA-B648-FD3EA380B551}" type="presParOf" srcId="{70CE364E-100C-4598-9D18-E14E5B3139E0}" destId="{685D5FB3-3D96-4673-BC66-7E0B1A449969}" srcOrd="4" destOrd="0" presId="urn:microsoft.com/office/officeart/2008/layout/HorizontalMultiLevelHierarchy"/>
    <dgm:cxn modelId="{C014FB3A-58E9-4DDC-9CE7-0D3B13AD1D6A}" type="presParOf" srcId="{685D5FB3-3D96-4673-BC66-7E0B1A449969}" destId="{531D771A-3BCA-4170-B3F9-62C090CEE7A5}" srcOrd="0" destOrd="0" presId="urn:microsoft.com/office/officeart/2008/layout/HorizontalMultiLevelHierarchy"/>
    <dgm:cxn modelId="{38085019-B80E-4A28-A2B9-CE9E8C444E87}" type="presParOf" srcId="{70CE364E-100C-4598-9D18-E14E5B3139E0}" destId="{8F4EADE1-5A3B-4778-935E-6799BB7B38A7}" srcOrd="5" destOrd="0" presId="urn:microsoft.com/office/officeart/2008/layout/HorizontalMultiLevelHierarchy"/>
    <dgm:cxn modelId="{5161CAC3-3626-4935-8DCE-31D070A70B56}" type="presParOf" srcId="{8F4EADE1-5A3B-4778-935E-6799BB7B38A7}" destId="{8F016FB7-B854-400F-ABEF-7F507BEC17AA}" srcOrd="0" destOrd="0" presId="urn:microsoft.com/office/officeart/2008/layout/HorizontalMultiLevelHierarchy"/>
    <dgm:cxn modelId="{73CCC91A-0ABA-4463-B4E6-295F4DBA32C5}" type="presParOf" srcId="{8F4EADE1-5A3B-4778-935E-6799BB7B38A7}" destId="{6E59EB4E-8EBF-49F8-88FD-FACF87A1FAC9}" srcOrd="1" destOrd="0" presId="urn:microsoft.com/office/officeart/2008/layout/HorizontalMultiLevelHierarchy"/>
    <dgm:cxn modelId="{C3E6908F-6C83-46B8-AD79-2C6DE5C81E01}" type="presParOf" srcId="{6E59EB4E-8EBF-49F8-88FD-FACF87A1FAC9}" destId="{F2457455-AAB0-4F29-A507-E0A963CAB068}" srcOrd="0" destOrd="0" presId="urn:microsoft.com/office/officeart/2008/layout/HorizontalMultiLevelHierarchy"/>
    <dgm:cxn modelId="{D3AA8076-DE31-4A9A-A110-685538081F0A}" type="presParOf" srcId="{F2457455-AAB0-4F29-A507-E0A963CAB068}" destId="{A7AEE5DA-C7B7-47D4-A972-11A15D9AD927}" srcOrd="0" destOrd="0" presId="urn:microsoft.com/office/officeart/2008/layout/HorizontalMultiLevelHierarchy"/>
    <dgm:cxn modelId="{CB2EC9B3-AAE7-423D-8FF3-5A57A7693678}" type="presParOf" srcId="{6E59EB4E-8EBF-49F8-88FD-FACF87A1FAC9}" destId="{C49D79A8-0A09-4EEC-8D2D-BBBEA119090F}" srcOrd="1" destOrd="0" presId="urn:microsoft.com/office/officeart/2008/layout/HorizontalMultiLevelHierarchy"/>
    <dgm:cxn modelId="{F9162A37-DF45-43B3-B5D6-A211E886ED44}" type="presParOf" srcId="{C49D79A8-0A09-4EEC-8D2D-BBBEA119090F}" destId="{C60FFC55-416F-4F71-82BF-98E6E75B44E5}" srcOrd="0" destOrd="0" presId="urn:microsoft.com/office/officeart/2008/layout/HorizontalMultiLevelHierarchy"/>
    <dgm:cxn modelId="{5E6264C6-992C-4A40-8632-4D34FC2CE476}" type="presParOf" srcId="{C49D79A8-0A09-4EEC-8D2D-BBBEA119090F}" destId="{1477C5CF-312B-4EF9-B1CB-A5B832F7B2FF}" srcOrd="1" destOrd="0" presId="urn:microsoft.com/office/officeart/2008/layout/HorizontalMultiLevelHierarchy"/>
    <dgm:cxn modelId="{3C7AA2FF-A5D9-49EB-B392-B2B2B9A684FE}" type="presParOf" srcId="{1477C5CF-312B-4EF9-B1CB-A5B832F7B2FF}" destId="{A5C40D7D-AC2A-4546-92BA-69ADD088D6A2}" srcOrd="0" destOrd="0" presId="urn:microsoft.com/office/officeart/2008/layout/HorizontalMultiLevelHierarchy"/>
    <dgm:cxn modelId="{4BFAD847-1901-43E9-8C91-7C2CC06B302E}" type="presParOf" srcId="{A5C40D7D-AC2A-4546-92BA-69ADD088D6A2}" destId="{042B44FA-CE8C-45FB-A805-85AE734BB2BC}" srcOrd="0" destOrd="0" presId="urn:microsoft.com/office/officeart/2008/layout/HorizontalMultiLevelHierarchy"/>
    <dgm:cxn modelId="{435BD849-AE1E-4755-AD71-CCE1D18AD557}" type="presParOf" srcId="{1477C5CF-312B-4EF9-B1CB-A5B832F7B2FF}" destId="{0C953427-453B-4CD5-8158-7654A0FF47A0}" srcOrd="1" destOrd="0" presId="urn:microsoft.com/office/officeart/2008/layout/HorizontalMultiLevelHierarchy"/>
    <dgm:cxn modelId="{2546EFEF-53B9-4433-B725-3FEF98098A58}" type="presParOf" srcId="{0C953427-453B-4CD5-8158-7654A0FF47A0}" destId="{78FA5704-01FF-4272-82D4-31E6E52FBE84}" srcOrd="0" destOrd="0" presId="urn:microsoft.com/office/officeart/2008/layout/HorizontalMultiLevelHierarchy"/>
    <dgm:cxn modelId="{14412B9B-B703-4F69-AC6C-4FB616CACBAF}" type="presParOf" srcId="{0C953427-453B-4CD5-8158-7654A0FF47A0}" destId="{3D923D9E-DEAD-4B90-9798-7FCD1104E61F}" srcOrd="1" destOrd="0" presId="urn:microsoft.com/office/officeart/2008/layout/HorizontalMultiLevelHierarchy"/>
    <dgm:cxn modelId="{0893050A-2CA0-4167-96A2-B606BA8D49FC}" type="presParOf" srcId="{70CE364E-100C-4598-9D18-E14E5B3139E0}" destId="{85646D21-05C6-4EEB-9174-89486A0AB004}" srcOrd="6" destOrd="0" presId="urn:microsoft.com/office/officeart/2008/layout/HorizontalMultiLevelHierarchy"/>
    <dgm:cxn modelId="{22E6DA06-64EA-43C1-9524-FCE76F663808}" type="presParOf" srcId="{85646D21-05C6-4EEB-9174-89486A0AB004}" destId="{1F097970-2C87-447B-8577-155A6C5043DA}" srcOrd="0" destOrd="0" presId="urn:microsoft.com/office/officeart/2008/layout/HorizontalMultiLevelHierarchy"/>
    <dgm:cxn modelId="{010A2ADD-D87F-4009-9846-F2556BBD0AAE}" type="presParOf" srcId="{70CE364E-100C-4598-9D18-E14E5B3139E0}" destId="{0BEEA5DE-CB01-42C5-98AC-BEDB7A790BC3}" srcOrd="7" destOrd="0" presId="urn:microsoft.com/office/officeart/2008/layout/HorizontalMultiLevelHierarchy"/>
    <dgm:cxn modelId="{70AFE539-A4B0-48D7-BD48-BB4A0B65AF66}" type="presParOf" srcId="{0BEEA5DE-CB01-42C5-98AC-BEDB7A790BC3}" destId="{A4DE185A-BB51-4E89-B082-DF109C0EDBE6}" srcOrd="0" destOrd="0" presId="urn:microsoft.com/office/officeart/2008/layout/HorizontalMultiLevelHierarchy"/>
    <dgm:cxn modelId="{694C026A-C3C8-446E-B3A1-201D745553C3}" type="presParOf" srcId="{0BEEA5DE-CB01-42C5-98AC-BEDB7A790BC3}" destId="{4F9CFB94-510C-47CF-AD01-611283889635}" srcOrd="1" destOrd="0" presId="urn:microsoft.com/office/officeart/2008/layout/HorizontalMultiLevelHierarchy"/>
    <dgm:cxn modelId="{1A45CF7B-782B-4F38-BEF3-2191860C7D16}" type="presParOf" srcId="{4F9CFB94-510C-47CF-AD01-611283889635}" destId="{F5FE547B-35A9-4F67-A833-30B8B967EF0A}" srcOrd="0" destOrd="0" presId="urn:microsoft.com/office/officeart/2008/layout/HorizontalMultiLevelHierarchy"/>
    <dgm:cxn modelId="{035D7FB5-80D1-4943-81DA-9025410AEA63}" type="presParOf" srcId="{F5FE547B-35A9-4F67-A833-30B8B967EF0A}" destId="{94723814-06E9-46F8-8DAA-864EC2ABAC8A}" srcOrd="0" destOrd="0" presId="urn:microsoft.com/office/officeart/2008/layout/HorizontalMultiLevelHierarchy"/>
    <dgm:cxn modelId="{6477886D-EB35-4614-A7BB-AB62CB1CCC2B}" type="presParOf" srcId="{4F9CFB94-510C-47CF-AD01-611283889635}" destId="{B7218ED8-4259-40F3-BC60-AABA849DD29C}" srcOrd="1" destOrd="0" presId="urn:microsoft.com/office/officeart/2008/layout/HorizontalMultiLevelHierarchy"/>
    <dgm:cxn modelId="{29F2F444-0D56-495C-B10B-4BA153D1B35E}" type="presParOf" srcId="{B7218ED8-4259-40F3-BC60-AABA849DD29C}" destId="{7BC0D74C-0A0B-41F1-BCFC-4658F7775DA5}" srcOrd="0" destOrd="0" presId="urn:microsoft.com/office/officeart/2008/layout/HorizontalMultiLevelHierarchy"/>
    <dgm:cxn modelId="{6F55F525-84B1-44F1-897D-D4D7813E696B}" type="presParOf" srcId="{B7218ED8-4259-40F3-BC60-AABA849DD29C}" destId="{7FA4E815-000D-412F-8848-1192BF550079}" srcOrd="1" destOrd="0" presId="urn:microsoft.com/office/officeart/2008/layout/HorizontalMultiLevelHierarchy"/>
    <dgm:cxn modelId="{E0180538-A19E-4EC8-828A-19510B107077}" type="presParOf" srcId="{70CE364E-100C-4598-9D18-E14E5B3139E0}" destId="{51FD1F7F-2985-45FD-8DC7-6C51BC0BFB40}" srcOrd="8" destOrd="0" presId="urn:microsoft.com/office/officeart/2008/layout/HorizontalMultiLevelHierarchy"/>
    <dgm:cxn modelId="{F6C30845-B1C8-4ED8-BAAC-874C620F7476}" type="presParOf" srcId="{51FD1F7F-2985-45FD-8DC7-6C51BC0BFB40}" destId="{7DA0F635-E73B-4796-8B51-51B339FA415C}" srcOrd="0" destOrd="0" presId="urn:microsoft.com/office/officeart/2008/layout/HorizontalMultiLevelHierarchy"/>
    <dgm:cxn modelId="{052ED007-F30E-4C2C-BB27-CA9B3F944AE3}" type="presParOf" srcId="{70CE364E-100C-4598-9D18-E14E5B3139E0}" destId="{9600027D-D937-4A0E-8056-5C6C2554363A}" srcOrd="9" destOrd="0" presId="urn:microsoft.com/office/officeart/2008/layout/HorizontalMultiLevelHierarchy"/>
    <dgm:cxn modelId="{B00645CB-121C-47C5-B6A7-18C4DDC74068}" type="presParOf" srcId="{9600027D-D937-4A0E-8056-5C6C2554363A}" destId="{5B7BA061-F2AF-4778-9B0A-DFF22F815B76}" srcOrd="0" destOrd="0" presId="urn:microsoft.com/office/officeart/2008/layout/HorizontalMultiLevelHierarchy"/>
    <dgm:cxn modelId="{4E7E84B4-64A0-430A-9309-F08037648380}" type="presParOf" srcId="{9600027D-D937-4A0E-8056-5C6C2554363A}" destId="{FA6F0916-61C7-482C-B6E3-9250EA851E8A}" srcOrd="1" destOrd="0" presId="urn:microsoft.com/office/officeart/2008/layout/HorizontalMultiLevelHierarchy"/>
    <dgm:cxn modelId="{9E115BFB-06DA-4DAB-A657-9909140C7DE4}" type="presParOf" srcId="{FA6F0916-61C7-482C-B6E3-9250EA851E8A}" destId="{76A08ECA-2701-4D06-B562-2036D6FDC347}" srcOrd="0" destOrd="0" presId="urn:microsoft.com/office/officeart/2008/layout/HorizontalMultiLevelHierarchy"/>
    <dgm:cxn modelId="{29D13E8E-33D2-4B75-8676-4DF1C1F13F84}" type="presParOf" srcId="{76A08ECA-2701-4D06-B562-2036D6FDC347}" destId="{72784062-1309-4EC6-B7C6-9A29AC3AE8FC}" srcOrd="0" destOrd="0" presId="urn:microsoft.com/office/officeart/2008/layout/HorizontalMultiLevelHierarchy"/>
    <dgm:cxn modelId="{0BB4846C-7E5A-4CA7-AE5B-EB5AEA2BE0BA}" type="presParOf" srcId="{FA6F0916-61C7-482C-B6E3-9250EA851E8A}" destId="{D07D0764-75B5-4173-9A83-3CA3E7A517C9}" srcOrd="1" destOrd="0" presId="urn:microsoft.com/office/officeart/2008/layout/HorizontalMultiLevelHierarchy"/>
    <dgm:cxn modelId="{A57BA1A7-D40F-41F2-9819-DB84E0206EBA}" type="presParOf" srcId="{D07D0764-75B5-4173-9A83-3CA3E7A517C9}" destId="{95E94648-C953-42A4-B330-74379F76D814}" srcOrd="0" destOrd="0" presId="urn:microsoft.com/office/officeart/2008/layout/HorizontalMultiLevelHierarchy"/>
    <dgm:cxn modelId="{481C0B88-A5CA-406D-8134-940B743D110D}" type="presParOf" srcId="{D07D0764-75B5-4173-9A83-3CA3E7A517C9}" destId="{24C129E9-6942-436A-9A32-69E12D10E14D}" srcOrd="1" destOrd="0" presId="urn:microsoft.com/office/officeart/2008/layout/HorizontalMultiLevelHierarchy"/>
    <dgm:cxn modelId="{FBE51256-1F76-4878-9CE6-EB2BA2970868}" type="presParOf" srcId="{FA6F0916-61C7-482C-B6E3-9250EA851E8A}" destId="{31352B07-229A-428E-9A9A-0259373B006D}" srcOrd="2" destOrd="0" presId="urn:microsoft.com/office/officeart/2008/layout/HorizontalMultiLevelHierarchy"/>
    <dgm:cxn modelId="{AD05A545-31E4-4E4E-8BAB-2BEB689AE442}" type="presParOf" srcId="{31352B07-229A-428E-9A9A-0259373B006D}" destId="{8E417E84-81F3-423D-8BCF-57EF5E031622}" srcOrd="0" destOrd="0" presId="urn:microsoft.com/office/officeart/2008/layout/HorizontalMultiLevelHierarchy"/>
    <dgm:cxn modelId="{EBE895B6-EE10-4F5F-ADF2-2E9DF3076B05}" type="presParOf" srcId="{FA6F0916-61C7-482C-B6E3-9250EA851E8A}" destId="{4B6FA8E8-82FD-4BA9-A9A9-AF46EB812AA0}" srcOrd="3" destOrd="0" presId="urn:microsoft.com/office/officeart/2008/layout/HorizontalMultiLevelHierarchy"/>
    <dgm:cxn modelId="{0A3943D6-BA9D-4974-B9D2-842D1F800E07}" type="presParOf" srcId="{4B6FA8E8-82FD-4BA9-A9A9-AF46EB812AA0}" destId="{75D45F4B-8920-4823-8070-5F894B45206D}" srcOrd="0" destOrd="0" presId="urn:microsoft.com/office/officeart/2008/layout/HorizontalMultiLevelHierarchy"/>
    <dgm:cxn modelId="{9BAD465F-6C3A-4DB3-AE7C-D54971887DB8}" type="presParOf" srcId="{4B6FA8E8-82FD-4BA9-A9A9-AF46EB812AA0}" destId="{DEA69EAB-9BD5-44EE-B8E5-74D51BED1DBC}" srcOrd="1" destOrd="0" presId="urn:microsoft.com/office/officeart/2008/layout/HorizontalMultiLevelHierarchy"/>
    <dgm:cxn modelId="{6BF6638C-A6E7-4867-B3BC-BDCDCCA19CB9}" type="presParOf" srcId="{DEA69EAB-9BD5-44EE-B8E5-74D51BED1DBC}" destId="{469408BB-2710-4F7D-95E1-9E2B7A45EE24}" srcOrd="0" destOrd="0" presId="urn:microsoft.com/office/officeart/2008/layout/HorizontalMultiLevelHierarchy"/>
    <dgm:cxn modelId="{16A5851D-54F8-4B9B-838A-9179694E4CB6}" type="presParOf" srcId="{469408BB-2710-4F7D-95E1-9E2B7A45EE24}" destId="{BC2AA862-75E1-40A4-983A-4F9255027B61}" srcOrd="0" destOrd="0" presId="urn:microsoft.com/office/officeart/2008/layout/HorizontalMultiLevelHierarchy"/>
    <dgm:cxn modelId="{E606DD9E-D729-4DEC-964E-D388D5DBF948}" type="presParOf" srcId="{DEA69EAB-9BD5-44EE-B8E5-74D51BED1DBC}" destId="{A5313BE8-2407-4251-8DD9-04D180CF90B5}" srcOrd="1" destOrd="0" presId="urn:microsoft.com/office/officeart/2008/layout/HorizontalMultiLevelHierarchy"/>
    <dgm:cxn modelId="{71A17384-2A8C-4EA0-822F-AF2E51463A44}" type="presParOf" srcId="{A5313BE8-2407-4251-8DD9-04D180CF90B5}" destId="{BBF87EFD-83B7-4137-848E-C8F3B667FF85}" srcOrd="0" destOrd="0" presId="urn:microsoft.com/office/officeart/2008/layout/HorizontalMultiLevelHierarchy"/>
    <dgm:cxn modelId="{88117CD7-427E-4489-938A-7FF18FE79E64}" type="presParOf" srcId="{A5313BE8-2407-4251-8DD9-04D180CF90B5}" destId="{36C35BBA-5449-442D-9F10-CD57A5E1B5CD}" srcOrd="1" destOrd="0" presId="urn:microsoft.com/office/officeart/2008/layout/HorizontalMultiLevelHierarchy"/>
    <dgm:cxn modelId="{2DCB1D89-2AE8-43AB-8F79-8572444CC90B}" type="presParOf" srcId="{DEA69EAB-9BD5-44EE-B8E5-74D51BED1DBC}" destId="{2701DC85-F3E5-4B63-9A30-7D2443C57A63}" srcOrd="2" destOrd="0" presId="urn:microsoft.com/office/officeart/2008/layout/HorizontalMultiLevelHierarchy"/>
    <dgm:cxn modelId="{CE578475-2621-478C-9BEB-7D2A92AC4A8A}" type="presParOf" srcId="{2701DC85-F3E5-4B63-9A30-7D2443C57A63}" destId="{DA4FFE79-9294-4426-A333-3BE4D1E5EF8A}" srcOrd="0" destOrd="0" presId="urn:microsoft.com/office/officeart/2008/layout/HorizontalMultiLevelHierarchy"/>
    <dgm:cxn modelId="{95A222CC-0C35-4C8C-805E-CE0A101F7F56}" type="presParOf" srcId="{DEA69EAB-9BD5-44EE-B8E5-74D51BED1DBC}" destId="{7B5A36A0-8642-46CF-B7A9-3C38BC7B6F38}" srcOrd="3" destOrd="0" presId="urn:microsoft.com/office/officeart/2008/layout/HorizontalMultiLevelHierarchy"/>
    <dgm:cxn modelId="{063E46F0-75BD-422E-A0D9-82AD796BBC69}" type="presParOf" srcId="{7B5A36A0-8642-46CF-B7A9-3C38BC7B6F38}" destId="{D491C935-11FD-40C5-B1C4-4BBD6FAA4953}" srcOrd="0" destOrd="0" presId="urn:microsoft.com/office/officeart/2008/layout/HorizontalMultiLevelHierarchy"/>
    <dgm:cxn modelId="{F5BB24AF-DBF0-46D6-BD68-9E5F1E9AA72A}" type="presParOf" srcId="{7B5A36A0-8642-46CF-B7A9-3C38BC7B6F38}" destId="{59FCAC0D-54E1-43D0-BFB9-E2B2D5C8C2F2}" srcOrd="1" destOrd="0" presId="urn:microsoft.com/office/officeart/2008/layout/HorizontalMultiLevelHierarchy"/>
    <dgm:cxn modelId="{16A191C5-1010-4096-B646-AA73708900F9}" type="presParOf" srcId="{DEA69EAB-9BD5-44EE-B8E5-74D51BED1DBC}" destId="{0EB9CD40-D38A-4793-A1FF-3EC56EAED078}" srcOrd="4" destOrd="0" presId="urn:microsoft.com/office/officeart/2008/layout/HorizontalMultiLevelHierarchy"/>
    <dgm:cxn modelId="{B493FA7D-35E6-4282-94EA-F2EAEB06FDF2}" type="presParOf" srcId="{0EB9CD40-D38A-4793-A1FF-3EC56EAED078}" destId="{5B8C17FD-81A8-48DE-91D6-A8AD767694B4}" srcOrd="0" destOrd="0" presId="urn:microsoft.com/office/officeart/2008/layout/HorizontalMultiLevelHierarchy"/>
    <dgm:cxn modelId="{EF465A8B-5301-412D-8734-1F4D5F3629AE}" type="presParOf" srcId="{DEA69EAB-9BD5-44EE-B8E5-74D51BED1DBC}" destId="{BED9C1AF-DC5C-4ABA-B2C7-FE547D9665A8}" srcOrd="5" destOrd="0" presId="urn:microsoft.com/office/officeart/2008/layout/HorizontalMultiLevelHierarchy"/>
    <dgm:cxn modelId="{A13523C1-7C58-4B2C-B793-2C663FBA2AB2}" type="presParOf" srcId="{BED9C1AF-DC5C-4ABA-B2C7-FE547D9665A8}" destId="{8A4D6683-8932-4287-9C32-790D9CEC73AE}" srcOrd="0" destOrd="0" presId="urn:microsoft.com/office/officeart/2008/layout/HorizontalMultiLevelHierarchy"/>
    <dgm:cxn modelId="{32F87134-E7B6-4A1D-B5F5-33E950FFFB68}" type="presParOf" srcId="{BED9C1AF-DC5C-4ABA-B2C7-FE547D9665A8}" destId="{92F3A204-C132-4994-9E37-6BFEE51C06DC}" srcOrd="1" destOrd="0" presId="urn:microsoft.com/office/officeart/2008/layout/HorizontalMultiLevelHierarchy"/>
    <dgm:cxn modelId="{808E1B37-0A63-4532-A5C4-72BC4B016622}" type="presParOf" srcId="{FA6F0916-61C7-482C-B6E3-9250EA851E8A}" destId="{F080F4EC-EA06-4946-9B51-572374DFF990}" srcOrd="4" destOrd="0" presId="urn:microsoft.com/office/officeart/2008/layout/HorizontalMultiLevelHierarchy"/>
    <dgm:cxn modelId="{E5B543C1-FE08-4BB0-AABE-69C363455FE1}" type="presParOf" srcId="{F080F4EC-EA06-4946-9B51-572374DFF990}" destId="{C33307B2-05A2-4B5A-9CB7-B66B64051799}" srcOrd="0" destOrd="0" presId="urn:microsoft.com/office/officeart/2008/layout/HorizontalMultiLevelHierarchy"/>
    <dgm:cxn modelId="{680B4569-A65F-4A81-A240-725ED4A8A448}" type="presParOf" srcId="{FA6F0916-61C7-482C-B6E3-9250EA851E8A}" destId="{AE2911FF-A59E-4D74-B513-C71AFE53B603}" srcOrd="5" destOrd="0" presId="urn:microsoft.com/office/officeart/2008/layout/HorizontalMultiLevelHierarchy"/>
    <dgm:cxn modelId="{C820813B-2E46-45B8-8991-7F2DA1753CE5}" type="presParOf" srcId="{AE2911FF-A59E-4D74-B513-C71AFE53B603}" destId="{C4CD4FF9-2447-4D5D-9C01-9FD2942E01EA}" srcOrd="0" destOrd="0" presId="urn:microsoft.com/office/officeart/2008/layout/HorizontalMultiLevelHierarchy"/>
    <dgm:cxn modelId="{40B70A8B-6B21-4E1A-A4BA-EEC6B657BADE}" type="presParOf" srcId="{AE2911FF-A59E-4D74-B513-C71AFE53B603}" destId="{340120BA-5823-4DB5-B0EF-78D09B9C9139}" srcOrd="1" destOrd="0" presId="urn:microsoft.com/office/officeart/2008/layout/HorizontalMultiLevelHierarchy"/>
    <dgm:cxn modelId="{1D523E45-2DD9-49A2-90FD-EF7959679CF2}" type="presParOf" srcId="{70CE364E-100C-4598-9D18-E14E5B3139E0}" destId="{A2A010F9-72C9-463A-9219-9F73C3936693}" srcOrd="10" destOrd="0" presId="urn:microsoft.com/office/officeart/2008/layout/HorizontalMultiLevelHierarchy"/>
    <dgm:cxn modelId="{307D831B-6CB5-425C-9DFE-543AB454C559}" type="presParOf" srcId="{A2A010F9-72C9-463A-9219-9F73C3936693}" destId="{420FAE1C-F59C-460D-A223-906310276858}" srcOrd="0" destOrd="0" presId="urn:microsoft.com/office/officeart/2008/layout/HorizontalMultiLevelHierarchy"/>
    <dgm:cxn modelId="{BCC83F1E-9470-44F8-AC48-06A7A3BE0A63}" type="presParOf" srcId="{70CE364E-100C-4598-9D18-E14E5B3139E0}" destId="{6BDCF498-8A39-45C5-9306-36B2DB2C8AF7}" srcOrd="11" destOrd="0" presId="urn:microsoft.com/office/officeart/2008/layout/HorizontalMultiLevelHierarchy"/>
    <dgm:cxn modelId="{40047FD7-5003-4C60-9DD7-67D2C0705BAD}" type="presParOf" srcId="{6BDCF498-8A39-45C5-9306-36B2DB2C8AF7}" destId="{965CC56C-3A11-4A77-89EA-60722CD5EE89}" srcOrd="0" destOrd="0" presId="urn:microsoft.com/office/officeart/2008/layout/HorizontalMultiLevelHierarchy"/>
    <dgm:cxn modelId="{9E3DD1EF-E0FD-4D2B-96D4-CF821EAB8B08}" type="presParOf" srcId="{6BDCF498-8A39-45C5-9306-36B2DB2C8AF7}" destId="{937EF188-A315-4933-94CC-86ECEBD1745E}" srcOrd="1" destOrd="0" presId="urn:microsoft.com/office/officeart/2008/layout/HorizontalMultiLevelHierarchy"/>
    <dgm:cxn modelId="{DEA35560-E588-4353-B888-0312EEE7003B}" type="presParOf" srcId="{937EF188-A315-4933-94CC-86ECEBD1745E}" destId="{4064A01A-4576-4D47-A1FC-9AA6612F23BC}" srcOrd="0" destOrd="0" presId="urn:microsoft.com/office/officeart/2008/layout/HorizontalMultiLevelHierarchy"/>
    <dgm:cxn modelId="{64A11EB4-30DE-447E-A1D6-E5FEBEE7343C}" type="presParOf" srcId="{4064A01A-4576-4D47-A1FC-9AA6612F23BC}" destId="{0C29FBE1-3AE3-454C-86A4-C302736CCB88}" srcOrd="0" destOrd="0" presId="urn:microsoft.com/office/officeart/2008/layout/HorizontalMultiLevelHierarchy"/>
    <dgm:cxn modelId="{9673281B-40DA-4BFC-B5E7-6075A8B7A221}" type="presParOf" srcId="{937EF188-A315-4933-94CC-86ECEBD1745E}" destId="{548C4A87-7D13-4070-91CB-39766BCA7C5C}" srcOrd="1" destOrd="0" presId="urn:microsoft.com/office/officeart/2008/layout/HorizontalMultiLevelHierarchy"/>
    <dgm:cxn modelId="{D22828C2-D2C7-4E5F-A917-22F30587F3F9}" type="presParOf" srcId="{548C4A87-7D13-4070-91CB-39766BCA7C5C}" destId="{9E66E106-CF3F-42C7-AD27-8B7CBB1A7013}" srcOrd="0" destOrd="0" presId="urn:microsoft.com/office/officeart/2008/layout/HorizontalMultiLevelHierarchy"/>
    <dgm:cxn modelId="{D3CF27C7-2B55-48C5-8E1F-86E9A8E66E01}" type="presParOf" srcId="{548C4A87-7D13-4070-91CB-39766BCA7C5C}" destId="{ACED0D9F-8A86-4ED7-9566-89CD8EC91BA9}" srcOrd="1" destOrd="0" presId="urn:microsoft.com/office/officeart/2008/layout/HorizontalMultiLevelHierarchy"/>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07AFA0C-C5D7-4367-B72F-9995DC652BC4}"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en-US"/>
        </a:p>
      </dgm:t>
    </dgm:pt>
    <dgm:pt modelId="{6CA75B29-9673-46EC-8E34-8E4F8CF6E4FF}">
      <dgm:prSet phldrT="[Text]" custT="1"/>
      <dgm:spPr/>
      <dgm:t>
        <a:bodyPr/>
        <a:lstStyle/>
        <a:p>
          <a:pPr algn="ctr"/>
          <a:r>
            <a:rPr lang="en-US" sz="1800" dirty="0">
              <a:solidFill>
                <a:srgbClr val="4A4A4A"/>
              </a:solidFill>
            </a:rPr>
            <a:t>Awaiting Cargo </a:t>
          </a:r>
        </a:p>
        <a:p>
          <a:pPr algn="ctr"/>
          <a:r>
            <a:rPr lang="en-US" sz="1800" dirty="0">
              <a:solidFill>
                <a:srgbClr val="4A4A4A"/>
              </a:solidFill>
            </a:rPr>
            <a:t>Protracted cargo preparation time</a:t>
          </a:r>
        </a:p>
      </dgm:t>
    </dgm:pt>
    <dgm:pt modelId="{5D9791D1-2DE4-4F16-A48F-458343A879E1}" type="parTrans" cxnId="{F237E090-58A8-4C2B-AE23-ACAF7721C92B}">
      <dgm:prSet/>
      <dgm:spPr/>
      <dgm:t>
        <a:bodyPr/>
        <a:lstStyle/>
        <a:p>
          <a:pPr algn="ctr"/>
          <a:endParaRPr lang="en-US" sz="800">
            <a:solidFill>
              <a:srgbClr val="4A4A4A"/>
            </a:solidFill>
          </a:endParaRPr>
        </a:p>
      </dgm:t>
    </dgm:pt>
    <dgm:pt modelId="{F9AE63BF-A3E8-4124-BF94-A8208570FBA7}" type="sibTrans" cxnId="{F237E090-58A8-4C2B-AE23-ACAF7721C92B}">
      <dgm:prSet/>
      <dgm:spPr/>
      <dgm:t>
        <a:bodyPr/>
        <a:lstStyle/>
        <a:p>
          <a:pPr algn="ctr"/>
          <a:endParaRPr lang="en-US" sz="800">
            <a:solidFill>
              <a:srgbClr val="4A4A4A"/>
            </a:solidFill>
          </a:endParaRPr>
        </a:p>
      </dgm:t>
    </dgm:pt>
    <dgm:pt modelId="{A5592FF3-B375-41F2-AC2B-29CE9E3C0347}">
      <dgm:prSet phldrT="[Text]" custT="1"/>
      <dgm:spPr/>
      <dgm:t>
        <a:bodyPr/>
        <a:lstStyle/>
        <a:p>
          <a:pPr algn="ctr"/>
          <a:r>
            <a:rPr lang="en-US" sz="1050" b="0" i="0" u="none" dirty="0">
              <a:solidFill>
                <a:srgbClr val="4A4A4A"/>
              </a:solidFill>
            </a:rPr>
            <a:t>1.Low/No Receipt</a:t>
          </a:r>
          <a:endParaRPr lang="en-US" sz="1050" dirty="0">
            <a:solidFill>
              <a:srgbClr val="4A4A4A"/>
            </a:solidFill>
          </a:endParaRPr>
        </a:p>
      </dgm:t>
    </dgm:pt>
    <dgm:pt modelId="{110D466E-153B-4F3F-B8FD-0D8A4D411E5B}" type="parTrans" cxnId="{E745C28B-2198-4B51-BEDF-60C10A4A47D8}">
      <dgm:prSet custT="1"/>
      <dgm:spPr/>
      <dgm:t>
        <a:bodyPr/>
        <a:lstStyle/>
        <a:p>
          <a:endParaRPr lang="en-US" sz="800">
            <a:solidFill>
              <a:srgbClr val="4A4A4A"/>
            </a:solidFill>
          </a:endParaRPr>
        </a:p>
      </dgm:t>
    </dgm:pt>
    <dgm:pt modelId="{6A4E4447-80A1-4882-ACAE-5C0CCE05247D}" type="sibTrans" cxnId="{E745C28B-2198-4B51-BEDF-60C10A4A47D8}">
      <dgm:prSet/>
      <dgm:spPr/>
      <dgm:t>
        <a:bodyPr/>
        <a:lstStyle/>
        <a:p>
          <a:endParaRPr lang="en-US" sz="800">
            <a:solidFill>
              <a:srgbClr val="4A4A4A"/>
            </a:solidFill>
          </a:endParaRPr>
        </a:p>
      </dgm:t>
    </dgm:pt>
    <dgm:pt modelId="{2F41698A-C0E2-4750-8917-3D6C630632C9}">
      <dgm:prSet custT="1"/>
      <dgm:spPr>
        <a:solidFill>
          <a:srgbClr val="336094"/>
        </a:solidFill>
      </dgm:spPr>
      <dgm:t>
        <a:bodyPr/>
        <a:lstStyle/>
        <a:p>
          <a:pPr algn="ctr"/>
          <a:r>
            <a:rPr lang="en-US" sz="1050" b="0" i="0" u="none" dirty="0">
              <a:solidFill>
                <a:srgbClr val="FFFFFF"/>
              </a:solidFill>
            </a:rPr>
            <a:t>2.Inadequate Ullage – FOT</a:t>
          </a:r>
          <a:endParaRPr lang="en-US" sz="1050" dirty="0">
            <a:solidFill>
              <a:srgbClr val="FFFFFF"/>
            </a:solidFill>
          </a:endParaRPr>
        </a:p>
      </dgm:t>
    </dgm:pt>
    <dgm:pt modelId="{1B914ADD-DC6F-4265-90C2-FB3B6F2EC966}" type="parTrans" cxnId="{42B0DAC8-2B13-4844-AD7C-9639011A0F70}">
      <dgm:prSet custT="1"/>
      <dgm:spPr/>
      <dgm:t>
        <a:bodyPr/>
        <a:lstStyle/>
        <a:p>
          <a:endParaRPr lang="en-US" sz="800">
            <a:solidFill>
              <a:srgbClr val="4A4A4A"/>
            </a:solidFill>
          </a:endParaRPr>
        </a:p>
      </dgm:t>
    </dgm:pt>
    <dgm:pt modelId="{73FA1F0F-30C4-484C-8B01-362694221682}" type="sibTrans" cxnId="{42B0DAC8-2B13-4844-AD7C-9639011A0F70}">
      <dgm:prSet/>
      <dgm:spPr/>
      <dgm:t>
        <a:bodyPr/>
        <a:lstStyle/>
        <a:p>
          <a:endParaRPr lang="en-US" sz="800">
            <a:solidFill>
              <a:srgbClr val="4A4A4A"/>
            </a:solidFill>
          </a:endParaRPr>
        </a:p>
      </dgm:t>
    </dgm:pt>
    <dgm:pt modelId="{E93FD00D-0F33-49CA-84F8-A24FF67B7996}">
      <dgm:prSet custT="1"/>
      <dgm:spPr/>
      <dgm:t>
        <a:bodyPr/>
        <a:lstStyle/>
        <a:p>
          <a:pPr algn="ctr"/>
          <a:r>
            <a:rPr lang="en-US" sz="1050" b="0" i="0" u="none" dirty="0">
              <a:solidFill>
                <a:srgbClr val="4A4A4A"/>
              </a:solidFill>
            </a:rPr>
            <a:t>3.High Emulsion content in receipt</a:t>
          </a:r>
          <a:endParaRPr lang="en-US" sz="1050" dirty="0">
            <a:solidFill>
              <a:srgbClr val="4A4A4A"/>
            </a:solidFill>
          </a:endParaRPr>
        </a:p>
      </dgm:t>
    </dgm:pt>
    <dgm:pt modelId="{82E06877-871A-4461-8146-9AE90814BA42}" type="parTrans" cxnId="{B754D631-A1EF-4328-A999-76D3112B9B6C}">
      <dgm:prSet custT="1"/>
      <dgm:spPr/>
      <dgm:t>
        <a:bodyPr/>
        <a:lstStyle/>
        <a:p>
          <a:endParaRPr lang="en-US" sz="800">
            <a:solidFill>
              <a:srgbClr val="4A4A4A"/>
            </a:solidFill>
          </a:endParaRPr>
        </a:p>
      </dgm:t>
    </dgm:pt>
    <dgm:pt modelId="{DE77B321-35B6-46F9-A1A8-0A7394C4A463}" type="sibTrans" cxnId="{B754D631-A1EF-4328-A999-76D3112B9B6C}">
      <dgm:prSet/>
      <dgm:spPr/>
      <dgm:t>
        <a:bodyPr/>
        <a:lstStyle/>
        <a:p>
          <a:endParaRPr lang="en-US" sz="800">
            <a:solidFill>
              <a:srgbClr val="4A4A4A"/>
            </a:solidFill>
          </a:endParaRPr>
        </a:p>
      </dgm:t>
    </dgm:pt>
    <dgm:pt modelId="{6A9D63FC-7FA1-4BEA-AD17-00D7888099AD}">
      <dgm:prSet custT="1"/>
      <dgm:spPr>
        <a:solidFill>
          <a:srgbClr val="743A1E"/>
        </a:solidFill>
      </dgm:spPr>
      <dgm:t>
        <a:bodyPr/>
        <a:lstStyle/>
        <a:p>
          <a:pPr algn="ctr"/>
          <a:r>
            <a:rPr lang="en-US" sz="1050" b="0" i="0" u="none" dirty="0">
              <a:solidFill>
                <a:srgbClr val="FFFFFF"/>
              </a:solidFill>
            </a:rPr>
            <a:t>4.Quality – SBM3 intake – BOGT</a:t>
          </a:r>
          <a:endParaRPr lang="en-US" sz="1050" dirty="0">
            <a:solidFill>
              <a:srgbClr val="FFFFFF"/>
            </a:solidFill>
          </a:endParaRPr>
        </a:p>
      </dgm:t>
    </dgm:pt>
    <dgm:pt modelId="{B2A1436C-B88D-4EFD-901A-072F8E3EA131}" type="parTrans" cxnId="{E250E71F-0347-4B3E-BCD8-3FB127C95A78}">
      <dgm:prSet custT="1"/>
      <dgm:spPr/>
      <dgm:t>
        <a:bodyPr/>
        <a:lstStyle/>
        <a:p>
          <a:endParaRPr lang="en-US" sz="800">
            <a:solidFill>
              <a:srgbClr val="4A4A4A"/>
            </a:solidFill>
          </a:endParaRPr>
        </a:p>
      </dgm:t>
    </dgm:pt>
    <dgm:pt modelId="{428E17BB-89B7-4C73-92A9-E6C79AB23A87}" type="sibTrans" cxnId="{E250E71F-0347-4B3E-BCD8-3FB127C95A78}">
      <dgm:prSet/>
      <dgm:spPr/>
      <dgm:t>
        <a:bodyPr/>
        <a:lstStyle/>
        <a:p>
          <a:endParaRPr lang="en-US" sz="800">
            <a:solidFill>
              <a:srgbClr val="4A4A4A"/>
            </a:solidFill>
          </a:endParaRPr>
        </a:p>
      </dgm:t>
    </dgm:pt>
    <dgm:pt modelId="{FF7A52FE-218E-4525-9180-3F0F14263598}">
      <dgm:prSet custT="1"/>
      <dgm:spPr>
        <a:solidFill>
          <a:srgbClr val="743A1E"/>
        </a:solidFill>
      </dgm:spPr>
      <dgm:t>
        <a:bodyPr/>
        <a:lstStyle/>
        <a:p>
          <a:pPr algn="ctr"/>
          <a:r>
            <a:rPr lang="en-US" sz="1050" b="0" i="0" u="none" dirty="0">
              <a:solidFill>
                <a:srgbClr val="FFFFFF"/>
              </a:solidFill>
            </a:rPr>
            <a:t>5.Pressure restriction in incoming lines – BOGT</a:t>
          </a:r>
          <a:endParaRPr lang="en-US" sz="1050" dirty="0">
            <a:solidFill>
              <a:srgbClr val="FFFFFF"/>
            </a:solidFill>
          </a:endParaRPr>
        </a:p>
      </dgm:t>
    </dgm:pt>
    <dgm:pt modelId="{28DF6652-0F47-4584-BBA3-98D5EE1B1446}" type="parTrans" cxnId="{896CABDB-54ED-4EA4-9FB3-6AEB0345B72C}">
      <dgm:prSet custT="1"/>
      <dgm:spPr/>
      <dgm:t>
        <a:bodyPr/>
        <a:lstStyle/>
        <a:p>
          <a:endParaRPr lang="en-US" sz="800">
            <a:solidFill>
              <a:srgbClr val="4A4A4A"/>
            </a:solidFill>
          </a:endParaRPr>
        </a:p>
      </dgm:t>
    </dgm:pt>
    <dgm:pt modelId="{3991CD25-5913-43A0-9866-60051A20FF7B}" type="sibTrans" cxnId="{896CABDB-54ED-4EA4-9FB3-6AEB0345B72C}">
      <dgm:prSet/>
      <dgm:spPr/>
      <dgm:t>
        <a:bodyPr/>
        <a:lstStyle/>
        <a:p>
          <a:endParaRPr lang="en-US" sz="800">
            <a:solidFill>
              <a:srgbClr val="4A4A4A"/>
            </a:solidFill>
          </a:endParaRPr>
        </a:p>
      </dgm:t>
    </dgm:pt>
    <dgm:pt modelId="{3EB3958C-EB87-44EE-A22D-F869F1F572C5}">
      <dgm:prSet phldrT="[Text]" custT="1"/>
      <dgm:spPr/>
      <dgm:t>
        <a:bodyPr/>
        <a:lstStyle/>
        <a:p>
          <a:pPr algn="ctr"/>
          <a:r>
            <a:rPr lang="en-US" sz="1000" b="0" i="0" u="none" dirty="0">
              <a:solidFill>
                <a:srgbClr val="4A4A4A"/>
              </a:solidFill>
            </a:rPr>
            <a:t>Receipt unpredictability e.g. UPS or upstream facilities issues</a:t>
          </a:r>
          <a:endParaRPr lang="en-US" sz="1000" dirty="0">
            <a:solidFill>
              <a:srgbClr val="4A4A4A"/>
            </a:solidFill>
          </a:endParaRPr>
        </a:p>
      </dgm:t>
    </dgm:pt>
    <dgm:pt modelId="{D762B263-C4D4-4DC6-BAFC-568C99E91857}" type="parTrans" cxnId="{18D82DCF-DED7-40B5-BA50-7212456559AD}">
      <dgm:prSet custT="1"/>
      <dgm:spPr/>
      <dgm:t>
        <a:bodyPr/>
        <a:lstStyle/>
        <a:p>
          <a:endParaRPr lang="en-US" sz="800">
            <a:solidFill>
              <a:srgbClr val="4A4A4A"/>
            </a:solidFill>
          </a:endParaRPr>
        </a:p>
      </dgm:t>
    </dgm:pt>
    <dgm:pt modelId="{A8F1A8AF-BCE1-4E13-9FBA-D5403BBD6536}" type="sibTrans" cxnId="{18D82DCF-DED7-40B5-BA50-7212456559AD}">
      <dgm:prSet/>
      <dgm:spPr/>
      <dgm:t>
        <a:bodyPr/>
        <a:lstStyle/>
        <a:p>
          <a:endParaRPr lang="en-US" sz="800">
            <a:solidFill>
              <a:srgbClr val="4A4A4A"/>
            </a:solidFill>
          </a:endParaRPr>
        </a:p>
      </dgm:t>
    </dgm:pt>
    <dgm:pt modelId="{7865B591-985F-45CA-A6C7-63C080EF0ABC}">
      <dgm:prSet custT="1"/>
      <dgm:spPr/>
      <dgm:t>
        <a:bodyPr/>
        <a:lstStyle/>
        <a:p>
          <a:r>
            <a:rPr lang="en-US" sz="1000" b="0" i="0" u="none" dirty="0">
              <a:solidFill>
                <a:srgbClr val="4A4A4A"/>
              </a:solidFill>
            </a:rPr>
            <a:t>Unscheduled unavailability of trunklines - TNP, TFP e.g. Sabotage etc.</a:t>
          </a:r>
          <a:endParaRPr lang="en-US" sz="1000" dirty="0">
            <a:solidFill>
              <a:srgbClr val="4A4A4A"/>
            </a:solidFill>
          </a:endParaRPr>
        </a:p>
      </dgm:t>
    </dgm:pt>
    <dgm:pt modelId="{D626BD16-4632-4921-A7B8-3378C5EB3763}" type="parTrans" cxnId="{D2110163-1B35-46ED-A5EC-E8FE9C6CD36E}">
      <dgm:prSet custT="1"/>
      <dgm:spPr/>
      <dgm:t>
        <a:bodyPr/>
        <a:lstStyle/>
        <a:p>
          <a:endParaRPr lang="en-US" sz="800">
            <a:solidFill>
              <a:srgbClr val="4A4A4A"/>
            </a:solidFill>
          </a:endParaRPr>
        </a:p>
      </dgm:t>
    </dgm:pt>
    <dgm:pt modelId="{481D31CB-A2F8-45E9-820B-F96019083E39}" type="sibTrans" cxnId="{D2110163-1B35-46ED-A5EC-E8FE9C6CD36E}">
      <dgm:prSet/>
      <dgm:spPr/>
      <dgm:t>
        <a:bodyPr/>
        <a:lstStyle/>
        <a:p>
          <a:endParaRPr lang="en-US" sz="800">
            <a:solidFill>
              <a:srgbClr val="4A4A4A"/>
            </a:solidFill>
          </a:endParaRPr>
        </a:p>
      </dgm:t>
    </dgm:pt>
    <dgm:pt modelId="{4BA2A960-4E83-4C76-A3FF-4E839700E470}">
      <dgm:prSet custT="1"/>
      <dgm:spPr>
        <a:solidFill>
          <a:srgbClr val="336094"/>
        </a:solidFill>
      </dgm:spPr>
      <dgm:t>
        <a:bodyPr/>
        <a:lstStyle/>
        <a:p>
          <a:r>
            <a:rPr lang="en-US" sz="900" u="none" strike="noStrike" dirty="0">
              <a:solidFill>
                <a:srgbClr val="FFFFFF"/>
              </a:solidFill>
              <a:effectLst/>
            </a:rPr>
            <a:t>Available ullage vs design capacity vs receipt:  5CSTs vs 9CSTs</a:t>
          </a:r>
          <a:br>
            <a:rPr lang="en-US" sz="900" u="none" strike="noStrike" dirty="0">
              <a:solidFill>
                <a:srgbClr val="FFFFFF"/>
              </a:solidFill>
              <a:effectLst/>
            </a:rPr>
          </a:br>
          <a:r>
            <a:rPr lang="en-US" sz="900" u="none" strike="noStrike" dirty="0">
              <a:solidFill>
                <a:srgbClr val="FFFFFF"/>
              </a:solidFill>
              <a:effectLst/>
            </a:rPr>
            <a:t>Tanker programming has little room for flexibility. Tank top (leading to production cutback)</a:t>
          </a:r>
          <a:br>
            <a:rPr lang="en-US" sz="900" u="none" strike="noStrike" dirty="0">
              <a:solidFill>
                <a:srgbClr val="FFFFFF"/>
              </a:solidFill>
              <a:effectLst/>
            </a:rPr>
          </a:br>
          <a:r>
            <a:rPr lang="en-US" sz="900" u="none" strike="noStrike" dirty="0">
              <a:solidFill>
                <a:srgbClr val="FFFFFF"/>
              </a:solidFill>
              <a:effectLst/>
            </a:rPr>
            <a:t>Tank bottom - demurrage outcome</a:t>
          </a:r>
          <a:endParaRPr lang="en-US" sz="900" dirty="0">
            <a:solidFill>
              <a:srgbClr val="FFFFFF"/>
            </a:solidFill>
          </a:endParaRPr>
        </a:p>
      </dgm:t>
    </dgm:pt>
    <dgm:pt modelId="{2F2BB214-DD49-4BD8-96C0-B321915F02A4}" type="parTrans" cxnId="{4E232BC0-75CA-4B3E-B44C-15A9E49C6671}">
      <dgm:prSet custT="1"/>
      <dgm:spPr/>
      <dgm:t>
        <a:bodyPr/>
        <a:lstStyle/>
        <a:p>
          <a:endParaRPr lang="en-US" sz="800">
            <a:solidFill>
              <a:srgbClr val="4A4A4A"/>
            </a:solidFill>
          </a:endParaRPr>
        </a:p>
      </dgm:t>
    </dgm:pt>
    <dgm:pt modelId="{29AE9DA0-27D9-4C1C-B59C-E72758E75B50}" type="sibTrans" cxnId="{4E232BC0-75CA-4B3E-B44C-15A9E49C6671}">
      <dgm:prSet/>
      <dgm:spPr/>
      <dgm:t>
        <a:bodyPr/>
        <a:lstStyle/>
        <a:p>
          <a:endParaRPr lang="en-US" sz="800">
            <a:solidFill>
              <a:srgbClr val="4A4A4A"/>
            </a:solidFill>
          </a:endParaRPr>
        </a:p>
      </dgm:t>
    </dgm:pt>
    <dgm:pt modelId="{FDB18E9C-85AB-426D-9EDF-F2FAFBC54107}">
      <dgm:prSet custT="1"/>
      <dgm:spPr/>
      <dgm:t>
        <a:bodyPr/>
        <a:lstStyle/>
        <a:p>
          <a:r>
            <a:rPr lang="en-US" sz="1000" b="0" i="0" u="none" dirty="0">
              <a:solidFill>
                <a:srgbClr val="4A4A4A"/>
              </a:solidFill>
            </a:rPr>
            <a:t>Upstream stations fail to inject sufficient </a:t>
          </a:r>
          <a:r>
            <a:rPr lang="en-US" sz="1000" b="0" i="0" u="none" dirty="0" err="1">
              <a:solidFill>
                <a:srgbClr val="4A4A4A"/>
              </a:solidFill>
            </a:rPr>
            <a:t>demulsifiers</a:t>
          </a:r>
          <a:r>
            <a:rPr lang="en-US" sz="1000" b="0" i="0" u="none" dirty="0">
              <a:solidFill>
                <a:srgbClr val="4A4A4A"/>
              </a:solidFill>
            </a:rPr>
            <a:t> into production stream</a:t>
          </a:r>
          <a:endParaRPr lang="en-US" sz="1000" dirty="0">
            <a:solidFill>
              <a:srgbClr val="4A4A4A"/>
            </a:solidFill>
          </a:endParaRPr>
        </a:p>
      </dgm:t>
    </dgm:pt>
    <dgm:pt modelId="{AB3EEF87-590A-44AA-98F6-8A812D3A92A1}" type="parTrans" cxnId="{C3DE1C2A-4F42-4042-908A-5EDEE36B73AC}">
      <dgm:prSet custT="1"/>
      <dgm:spPr/>
      <dgm:t>
        <a:bodyPr/>
        <a:lstStyle/>
        <a:p>
          <a:endParaRPr lang="en-US" sz="800">
            <a:solidFill>
              <a:srgbClr val="4A4A4A"/>
            </a:solidFill>
          </a:endParaRPr>
        </a:p>
      </dgm:t>
    </dgm:pt>
    <dgm:pt modelId="{3B642D17-3F5A-4468-8E05-995C6B35D89C}" type="sibTrans" cxnId="{C3DE1C2A-4F42-4042-908A-5EDEE36B73AC}">
      <dgm:prSet/>
      <dgm:spPr/>
      <dgm:t>
        <a:bodyPr/>
        <a:lstStyle/>
        <a:p>
          <a:endParaRPr lang="en-US" sz="800">
            <a:solidFill>
              <a:srgbClr val="4A4A4A"/>
            </a:solidFill>
          </a:endParaRPr>
        </a:p>
      </dgm:t>
    </dgm:pt>
    <dgm:pt modelId="{3C5B4F91-15A2-4D0B-9258-A8B61D75A59F}">
      <dgm:prSet custT="1"/>
      <dgm:spPr>
        <a:solidFill>
          <a:srgbClr val="336094"/>
        </a:solidFill>
      </dgm:spPr>
      <dgm:t>
        <a:bodyPr/>
        <a:lstStyle/>
        <a:p>
          <a:r>
            <a:rPr lang="en-US" sz="1000" b="0" i="0" u="none" dirty="0">
              <a:solidFill>
                <a:srgbClr val="FFFFFF"/>
              </a:solidFill>
            </a:rPr>
            <a:t>High volume of Untreated water e.g. UPS</a:t>
          </a:r>
          <a:endParaRPr lang="en-US" sz="1000" dirty="0">
            <a:solidFill>
              <a:srgbClr val="FFFFFF"/>
            </a:solidFill>
          </a:endParaRPr>
        </a:p>
      </dgm:t>
    </dgm:pt>
    <dgm:pt modelId="{6DC9F374-3D88-4A70-BBE8-96DD05A29623}" type="parTrans" cxnId="{1B858EA8-36D4-45C7-8769-6FB5187E2241}">
      <dgm:prSet custT="1"/>
      <dgm:spPr/>
      <dgm:t>
        <a:bodyPr/>
        <a:lstStyle/>
        <a:p>
          <a:endParaRPr lang="en-US" sz="800">
            <a:solidFill>
              <a:srgbClr val="4A4A4A"/>
            </a:solidFill>
          </a:endParaRPr>
        </a:p>
      </dgm:t>
    </dgm:pt>
    <dgm:pt modelId="{5930C5B8-13A1-4BA1-9EC2-2F89ACE05BC4}" type="sibTrans" cxnId="{1B858EA8-36D4-45C7-8769-6FB5187E2241}">
      <dgm:prSet/>
      <dgm:spPr/>
      <dgm:t>
        <a:bodyPr/>
        <a:lstStyle/>
        <a:p>
          <a:endParaRPr lang="en-US" sz="800">
            <a:solidFill>
              <a:srgbClr val="4A4A4A"/>
            </a:solidFill>
          </a:endParaRPr>
        </a:p>
      </dgm:t>
    </dgm:pt>
    <dgm:pt modelId="{7160168E-625D-45C1-B60C-9BBCB2E34837}">
      <dgm:prSet custT="1"/>
      <dgm:spPr/>
      <dgm:t>
        <a:bodyPr/>
        <a:lstStyle/>
        <a:p>
          <a:r>
            <a:rPr lang="en-US" sz="1000" b="0" i="0" u="none" dirty="0">
              <a:solidFill>
                <a:srgbClr val="4A4A4A"/>
              </a:solidFill>
            </a:rPr>
            <a:t>Effluent generated into production downstream of producing facilities</a:t>
          </a:r>
          <a:endParaRPr lang="en-US" sz="1000" dirty="0">
            <a:solidFill>
              <a:srgbClr val="4A4A4A"/>
            </a:solidFill>
          </a:endParaRPr>
        </a:p>
      </dgm:t>
    </dgm:pt>
    <dgm:pt modelId="{92AA8C1A-AB13-4765-8142-EBD75A1E6F65}" type="parTrans" cxnId="{6F1FEEC7-3244-498F-96ED-DFCB17C98E5A}">
      <dgm:prSet custT="1"/>
      <dgm:spPr/>
      <dgm:t>
        <a:bodyPr/>
        <a:lstStyle/>
        <a:p>
          <a:endParaRPr lang="en-US" sz="800">
            <a:solidFill>
              <a:srgbClr val="4A4A4A"/>
            </a:solidFill>
          </a:endParaRPr>
        </a:p>
      </dgm:t>
    </dgm:pt>
    <dgm:pt modelId="{F55DEE25-2C81-43AA-85F9-5CDA79A1C6DB}" type="sibTrans" cxnId="{6F1FEEC7-3244-498F-96ED-DFCB17C98E5A}">
      <dgm:prSet/>
      <dgm:spPr/>
      <dgm:t>
        <a:bodyPr/>
        <a:lstStyle/>
        <a:p>
          <a:endParaRPr lang="en-US" sz="800">
            <a:solidFill>
              <a:srgbClr val="4A4A4A"/>
            </a:solidFill>
          </a:endParaRPr>
        </a:p>
      </dgm:t>
    </dgm:pt>
    <dgm:pt modelId="{1D3A8C81-ED7C-4475-8D67-9C86BD802117}">
      <dgm:prSet custT="1"/>
      <dgm:spPr>
        <a:solidFill>
          <a:srgbClr val="336094"/>
        </a:solidFill>
      </dgm:spPr>
      <dgm:t>
        <a:bodyPr/>
        <a:lstStyle/>
        <a:p>
          <a:r>
            <a:rPr lang="en-US" sz="1000" b="0" i="0" u="none" dirty="0">
              <a:solidFill>
                <a:srgbClr val="FFFFFF"/>
              </a:solidFill>
            </a:rPr>
            <a:t>Unavailability of FOT Emulsion treatment system - Height of sludge already resident in Crude Storage tanks</a:t>
          </a:r>
          <a:endParaRPr lang="en-US" sz="1000" dirty="0">
            <a:solidFill>
              <a:srgbClr val="FFFFFF"/>
            </a:solidFill>
          </a:endParaRPr>
        </a:p>
      </dgm:t>
    </dgm:pt>
    <dgm:pt modelId="{24FB7D90-7694-4B3C-B3FA-E0AA4DB24758}" type="parTrans" cxnId="{76BE2499-63C0-4B3D-8622-AA82197EC0E4}">
      <dgm:prSet custT="1"/>
      <dgm:spPr/>
      <dgm:t>
        <a:bodyPr/>
        <a:lstStyle/>
        <a:p>
          <a:endParaRPr lang="en-US" sz="800">
            <a:solidFill>
              <a:srgbClr val="4A4A4A"/>
            </a:solidFill>
          </a:endParaRPr>
        </a:p>
      </dgm:t>
    </dgm:pt>
    <dgm:pt modelId="{E28CC502-6A8B-4B33-A9FD-FF8F0F1F9A99}" type="sibTrans" cxnId="{76BE2499-63C0-4B3D-8622-AA82197EC0E4}">
      <dgm:prSet/>
      <dgm:spPr/>
      <dgm:t>
        <a:bodyPr/>
        <a:lstStyle/>
        <a:p>
          <a:endParaRPr lang="en-US" sz="800">
            <a:solidFill>
              <a:srgbClr val="4A4A4A"/>
            </a:solidFill>
          </a:endParaRPr>
        </a:p>
      </dgm:t>
    </dgm:pt>
    <dgm:pt modelId="{1E18F1ED-3C9E-43EC-8749-C9676B6CC387}">
      <dgm:prSet custT="1"/>
      <dgm:spPr>
        <a:solidFill>
          <a:srgbClr val="743A1E"/>
        </a:solidFill>
      </dgm:spPr>
      <dgm:t>
        <a:bodyPr/>
        <a:lstStyle/>
        <a:p>
          <a:r>
            <a:rPr lang="en-US" sz="1000" b="0" i="0" u="none" dirty="0">
              <a:solidFill>
                <a:srgbClr val="FFFFFF"/>
              </a:solidFill>
            </a:rPr>
            <a:t>Liquids from </a:t>
          </a:r>
          <a:r>
            <a:rPr lang="en-US" sz="1000" b="0" i="0" u="none" dirty="0" err="1">
              <a:solidFill>
                <a:srgbClr val="FFFFFF"/>
              </a:solidFill>
            </a:rPr>
            <a:t>Soku</a:t>
          </a:r>
          <a:r>
            <a:rPr lang="en-US" sz="1000" b="0" i="0" u="none" dirty="0">
              <a:solidFill>
                <a:srgbClr val="FFFFFF"/>
              </a:solidFill>
            </a:rPr>
            <a:t> is predominantly higher API - condensate.</a:t>
          </a:r>
          <a:br>
            <a:rPr lang="en-US" sz="1000" b="0" i="0" u="none" dirty="0">
              <a:solidFill>
                <a:srgbClr val="FFFFFF"/>
              </a:solidFill>
            </a:rPr>
          </a:br>
          <a:r>
            <a:rPr lang="en-US" sz="1000" b="0" i="0" u="none" dirty="0">
              <a:solidFill>
                <a:srgbClr val="FFFFFF"/>
              </a:solidFill>
            </a:rPr>
            <a:t>Less Low API crude available to blend.</a:t>
          </a:r>
          <a:endParaRPr lang="en-US" sz="1000" dirty="0">
            <a:solidFill>
              <a:srgbClr val="FFFFFF"/>
            </a:solidFill>
          </a:endParaRPr>
        </a:p>
      </dgm:t>
    </dgm:pt>
    <dgm:pt modelId="{4C41D4C1-7613-4F27-8924-EFD2DB2D069F}" type="parTrans" cxnId="{A2C24675-EF72-449D-AB17-E23D9ED64A87}">
      <dgm:prSet custT="1"/>
      <dgm:spPr/>
      <dgm:t>
        <a:bodyPr/>
        <a:lstStyle/>
        <a:p>
          <a:endParaRPr lang="en-US" sz="800">
            <a:solidFill>
              <a:srgbClr val="4A4A4A"/>
            </a:solidFill>
          </a:endParaRPr>
        </a:p>
      </dgm:t>
    </dgm:pt>
    <dgm:pt modelId="{F0444F20-151C-451E-B851-ED2086961017}" type="sibTrans" cxnId="{A2C24675-EF72-449D-AB17-E23D9ED64A87}">
      <dgm:prSet/>
      <dgm:spPr/>
      <dgm:t>
        <a:bodyPr/>
        <a:lstStyle/>
        <a:p>
          <a:endParaRPr lang="en-US" sz="800">
            <a:solidFill>
              <a:srgbClr val="4A4A4A"/>
            </a:solidFill>
          </a:endParaRPr>
        </a:p>
      </dgm:t>
    </dgm:pt>
    <dgm:pt modelId="{218DB312-18D6-4909-AB84-E0FF0784AFEF}">
      <dgm:prSet custT="1"/>
      <dgm:spPr>
        <a:solidFill>
          <a:srgbClr val="743A1E"/>
        </a:solidFill>
      </dgm:spPr>
      <dgm:t>
        <a:bodyPr/>
        <a:lstStyle/>
        <a:p>
          <a:r>
            <a:rPr lang="en-US" sz="1000" b="0" i="0" u="none" dirty="0">
              <a:solidFill>
                <a:srgbClr val="FFFFFF"/>
              </a:solidFill>
            </a:rPr>
            <a:t>Salt content above threshold &gt;25ptb - EMERGING</a:t>
          </a:r>
          <a:endParaRPr lang="en-US" sz="1000" dirty="0">
            <a:solidFill>
              <a:srgbClr val="FFFFFF"/>
            </a:solidFill>
          </a:endParaRPr>
        </a:p>
      </dgm:t>
    </dgm:pt>
    <dgm:pt modelId="{B8A5BF8E-F372-4507-8A89-04B5368BB211}" type="parTrans" cxnId="{3AEE3035-590D-4702-88F2-3E9D4E6E6D33}">
      <dgm:prSet custT="1"/>
      <dgm:spPr/>
      <dgm:t>
        <a:bodyPr/>
        <a:lstStyle/>
        <a:p>
          <a:endParaRPr lang="en-US" sz="800">
            <a:solidFill>
              <a:srgbClr val="4A4A4A"/>
            </a:solidFill>
          </a:endParaRPr>
        </a:p>
      </dgm:t>
    </dgm:pt>
    <dgm:pt modelId="{A0933D63-CADC-46BA-8CFC-8780BA7CB311}" type="sibTrans" cxnId="{3AEE3035-590D-4702-88F2-3E9D4E6E6D33}">
      <dgm:prSet/>
      <dgm:spPr/>
      <dgm:t>
        <a:bodyPr/>
        <a:lstStyle/>
        <a:p>
          <a:endParaRPr lang="en-US" sz="800">
            <a:solidFill>
              <a:srgbClr val="4A4A4A"/>
            </a:solidFill>
          </a:endParaRPr>
        </a:p>
      </dgm:t>
    </dgm:pt>
    <dgm:pt modelId="{8D168E60-6197-4614-A519-8A42A3FA571E}">
      <dgm:prSet custT="1"/>
      <dgm:spPr>
        <a:solidFill>
          <a:srgbClr val="743A1E"/>
        </a:solidFill>
      </dgm:spPr>
      <dgm:t>
        <a:bodyPr/>
        <a:lstStyle/>
        <a:p>
          <a:r>
            <a:rPr lang="en-US" sz="1000" u="none" strike="noStrike" dirty="0">
              <a:solidFill>
                <a:srgbClr val="FFFFFF"/>
              </a:solidFill>
              <a:effectLst/>
            </a:rPr>
            <a:t>Suspected restriction in common header.</a:t>
          </a:r>
          <a:endParaRPr lang="en-US" sz="1000" dirty="0">
            <a:solidFill>
              <a:srgbClr val="FFFFFF"/>
            </a:solidFill>
          </a:endParaRPr>
        </a:p>
      </dgm:t>
    </dgm:pt>
    <dgm:pt modelId="{8735330F-DBF8-4EAC-85E2-1CC1C6A4AE44}" type="parTrans" cxnId="{F967C557-BA53-44C6-926D-C854A51176F6}">
      <dgm:prSet custT="1"/>
      <dgm:spPr/>
      <dgm:t>
        <a:bodyPr/>
        <a:lstStyle/>
        <a:p>
          <a:endParaRPr lang="en-US" sz="800">
            <a:solidFill>
              <a:srgbClr val="4A4A4A"/>
            </a:solidFill>
          </a:endParaRPr>
        </a:p>
      </dgm:t>
    </dgm:pt>
    <dgm:pt modelId="{D8AAFC20-D4B4-4D51-90E5-A5F65227A74D}" type="sibTrans" cxnId="{F967C557-BA53-44C6-926D-C854A51176F6}">
      <dgm:prSet/>
      <dgm:spPr/>
      <dgm:t>
        <a:bodyPr/>
        <a:lstStyle/>
        <a:p>
          <a:endParaRPr lang="en-US" sz="800">
            <a:solidFill>
              <a:srgbClr val="4A4A4A"/>
            </a:solidFill>
          </a:endParaRPr>
        </a:p>
      </dgm:t>
    </dgm:pt>
    <dgm:pt modelId="{CA5E1CDE-EE34-49E9-B13A-CD9871616054}" type="pres">
      <dgm:prSet presAssocID="{407AFA0C-C5D7-4367-B72F-9995DC652BC4}" presName="Name0" presStyleCnt="0">
        <dgm:presLayoutVars>
          <dgm:chPref val="1"/>
          <dgm:dir/>
          <dgm:animOne val="branch"/>
          <dgm:animLvl val="lvl"/>
          <dgm:resizeHandles val="exact"/>
        </dgm:presLayoutVars>
      </dgm:prSet>
      <dgm:spPr/>
    </dgm:pt>
    <dgm:pt modelId="{A2DF0522-355D-49C8-9F8A-91BBAC7A2EF6}" type="pres">
      <dgm:prSet presAssocID="{6CA75B29-9673-46EC-8E34-8E4F8CF6E4FF}" presName="root1" presStyleCnt="0"/>
      <dgm:spPr/>
    </dgm:pt>
    <dgm:pt modelId="{876B423C-3190-4967-83DF-0604BBCB998D}" type="pres">
      <dgm:prSet presAssocID="{6CA75B29-9673-46EC-8E34-8E4F8CF6E4FF}" presName="LevelOneTextNode" presStyleLbl="node0" presStyleIdx="0" presStyleCnt="1" custScaleX="205637" custScaleY="167524">
        <dgm:presLayoutVars>
          <dgm:chPref val="3"/>
        </dgm:presLayoutVars>
      </dgm:prSet>
      <dgm:spPr/>
    </dgm:pt>
    <dgm:pt modelId="{70CE364E-100C-4598-9D18-E14E5B3139E0}" type="pres">
      <dgm:prSet presAssocID="{6CA75B29-9673-46EC-8E34-8E4F8CF6E4FF}" presName="level2hierChild" presStyleCnt="0"/>
      <dgm:spPr/>
    </dgm:pt>
    <dgm:pt modelId="{338F5B5B-65E1-423C-9EA2-10B498E062A0}" type="pres">
      <dgm:prSet presAssocID="{110D466E-153B-4F3F-B8FD-0D8A4D411E5B}" presName="conn2-1" presStyleLbl="parChTrans1D2" presStyleIdx="0" presStyleCnt="5"/>
      <dgm:spPr/>
    </dgm:pt>
    <dgm:pt modelId="{AC903DF3-7D0F-4488-8A6C-3DED2BA6BC02}" type="pres">
      <dgm:prSet presAssocID="{110D466E-153B-4F3F-B8FD-0D8A4D411E5B}" presName="connTx" presStyleLbl="parChTrans1D2" presStyleIdx="0" presStyleCnt="5"/>
      <dgm:spPr/>
    </dgm:pt>
    <dgm:pt modelId="{727FE7B9-1719-4360-B507-BFE3BB219AFB}" type="pres">
      <dgm:prSet presAssocID="{A5592FF3-B375-41F2-AC2B-29CE9E3C0347}" presName="root2" presStyleCnt="0"/>
      <dgm:spPr/>
    </dgm:pt>
    <dgm:pt modelId="{10F6BD1A-09D4-4DDF-AFD4-48D45EB93024}" type="pres">
      <dgm:prSet presAssocID="{A5592FF3-B375-41F2-AC2B-29CE9E3C0347}" presName="LevelTwoTextNode" presStyleLbl="node2" presStyleIdx="0" presStyleCnt="5" custScaleX="143172">
        <dgm:presLayoutVars>
          <dgm:chPref val="3"/>
        </dgm:presLayoutVars>
      </dgm:prSet>
      <dgm:spPr/>
    </dgm:pt>
    <dgm:pt modelId="{1D2A6658-BD45-48E4-8F5F-5DFDA9C32EE6}" type="pres">
      <dgm:prSet presAssocID="{A5592FF3-B375-41F2-AC2B-29CE9E3C0347}" presName="level3hierChild" presStyleCnt="0"/>
      <dgm:spPr/>
    </dgm:pt>
    <dgm:pt modelId="{27817BB4-D168-4FEA-A5C7-7E3A4A29FBD1}" type="pres">
      <dgm:prSet presAssocID="{D762B263-C4D4-4DC6-BAFC-568C99E91857}" presName="conn2-1" presStyleLbl="parChTrans1D3" presStyleIdx="0" presStyleCnt="10"/>
      <dgm:spPr/>
    </dgm:pt>
    <dgm:pt modelId="{519F1D25-5717-4B22-9CCF-2EA1ED3BE991}" type="pres">
      <dgm:prSet presAssocID="{D762B263-C4D4-4DC6-BAFC-568C99E91857}" presName="connTx" presStyleLbl="parChTrans1D3" presStyleIdx="0" presStyleCnt="10"/>
      <dgm:spPr/>
    </dgm:pt>
    <dgm:pt modelId="{DD3244E0-F815-459F-8A62-5F28346AC6F1}" type="pres">
      <dgm:prSet presAssocID="{3EB3958C-EB87-44EE-A22D-F869F1F572C5}" presName="root2" presStyleCnt="0"/>
      <dgm:spPr/>
    </dgm:pt>
    <dgm:pt modelId="{6DD2ED10-EACE-4FD5-B9BC-F833A319D28D}" type="pres">
      <dgm:prSet presAssocID="{3EB3958C-EB87-44EE-A22D-F869F1F572C5}" presName="LevelTwoTextNode" presStyleLbl="node3" presStyleIdx="0" presStyleCnt="10" custScaleX="246046">
        <dgm:presLayoutVars>
          <dgm:chPref val="3"/>
        </dgm:presLayoutVars>
      </dgm:prSet>
      <dgm:spPr/>
    </dgm:pt>
    <dgm:pt modelId="{A0B936A6-DCBE-4E51-ABBF-7AE330A3862D}" type="pres">
      <dgm:prSet presAssocID="{3EB3958C-EB87-44EE-A22D-F869F1F572C5}" presName="level3hierChild" presStyleCnt="0"/>
      <dgm:spPr/>
    </dgm:pt>
    <dgm:pt modelId="{07E1AC76-A19C-4EE6-A97D-DB10C23167F2}" type="pres">
      <dgm:prSet presAssocID="{D626BD16-4632-4921-A7B8-3378C5EB3763}" presName="conn2-1" presStyleLbl="parChTrans1D3" presStyleIdx="1" presStyleCnt="10"/>
      <dgm:spPr/>
    </dgm:pt>
    <dgm:pt modelId="{976AAF58-02BA-4A83-9117-4177346BEECE}" type="pres">
      <dgm:prSet presAssocID="{D626BD16-4632-4921-A7B8-3378C5EB3763}" presName="connTx" presStyleLbl="parChTrans1D3" presStyleIdx="1" presStyleCnt="10"/>
      <dgm:spPr/>
    </dgm:pt>
    <dgm:pt modelId="{3BDC41D9-3A78-475F-97F7-2232D73803D4}" type="pres">
      <dgm:prSet presAssocID="{7865B591-985F-45CA-A6C7-63C080EF0ABC}" presName="root2" presStyleCnt="0"/>
      <dgm:spPr/>
    </dgm:pt>
    <dgm:pt modelId="{D71DB4A9-36E8-4390-A1BD-4007AC791BF8}" type="pres">
      <dgm:prSet presAssocID="{7865B591-985F-45CA-A6C7-63C080EF0ABC}" presName="LevelTwoTextNode" presStyleLbl="node3" presStyleIdx="1" presStyleCnt="10" custScaleX="246046">
        <dgm:presLayoutVars>
          <dgm:chPref val="3"/>
        </dgm:presLayoutVars>
      </dgm:prSet>
      <dgm:spPr/>
    </dgm:pt>
    <dgm:pt modelId="{91A3133B-437F-4062-AFC3-B494C0E3D709}" type="pres">
      <dgm:prSet presAssocID="{7865B591-985F-45CA-A6C7-63C080EF0ABC}" presName="level3hierChild" presStyleCnt="0"/>
      <dgm:spPr/>
    </dgm:pt>
    <dgm:pt modelId="{D864782E-E0C8-4912-BE81-BBC134058F6E}" type="pres">
      <dgm:prSet presAssocID="{1B914ADD-DC6F-4265-90C2-FB3B6F2EC966}" presName="conn2-1" presStyleLbl="parChTrans1D2" presStyleIdx="1" presStyleCnt="5"/>
      <dgm:spPr/>
    </dgm:pt>
    <dgm:pt modelId="{EC445E4A-BDAF-4F52-B9CD-BCA7757B25D4}" type="pres">
      <dgm:prSet presAssocID="{1B914ADD-DC6F-4265-90C2-FB3B6F2EC966}" presName="connTx" presStyleLbl="parChTrans1D2" presStyleIdx="1" presStyleCnt="5"/>
      <dgm:spPr/>
    </dgm:pt>
    <dgm:pt modelId="{D94EBFEF-9BBA-431E-BBF9-2014A550244D}" type="pres">
      <dgm:prSet presAssocID="{2F41698A-C0E2-4750-8917-3D6C630632C9}" presName="root2" presStyleCnt="0"/>
      <dgm:spPr/>
    </dgm:pt>
    <dgm:pt modelId="{0756056B-EDAB-42D0-84C7-2CEB1CB71CF4}" type="pres">
      <dgm:prSet presAssocID="{2F41698A-C0E2-4750-8917-3D6C630632C9}" presName="LevelTwoTextNode" presStyleLbl="node2" presStyleIdx="1" presStyleCnt="5" custScaleX="143172">
        <dgm:presLayoutVars>
          <dgm:chPref val="3"/>
        </dgm:presLayoutVars>
      </dgm:prSet>
      <dgm:spPr/>
    </dgm:pt>
    <dgm:pt modelId="{839AD6F7-D56F-4975-B287-BAEBA14AB77E}" type="pres">
      <dgm:prSet presAssocID="{2F41698A-C0E2-4750-8917-3D6C630632C9}" presName="level3hierChild" presStyleCnt="0"/>
      <dgm:spPr/>
    </dgm:pt>
    <dgm:pt modelId="{940FF0D5-3C57-404B-8113-05B69BA1A9D4}" type="pres">
      <dgm:prSet presAssocID="{2F2BB214-DD49-4BD8-96C0-B321915F02A4}" presName="conn2-1" presStyleLbl="parChTrans1D3" presStyleIdx="2" presStyleCnt="10"/>
      <dgm:spPr/>
    </dgm:pt>
    <dgm:pt modelId="{9DAAD9BE-DE0D-4845-BC00-2DE1435FCD00}" type="pres">
      <dgm:prSet presAssocID="{2F2BB214-DD49-4BD8-96C0-B321915F02A4}" presName="connTx" presStyleLbl="parChTrans1D3" presStyleIdx="2" presStyleCnt="10"/>
      <dgm:spPr/>
    </dgm:pt>
    <dgm:pt modelId="{DB19090D-E7B5-4E74-B1F8-D19EDB770366}" type="pres">
      <dgm:prSet presAssocID="{4BA2A960-4E83-4C76-A3FF-4E839700E470}" presName="root2" presStyleCnt="0"/>
      <dgm:spPr/>
    </dgm:pt>
    <dgm:pt modelId="{CE39256C-2C1C-4A2E-8AB9-C90FF07AD830}" type="pres">
      <dgm:prSet presAssocID="{4BA2A960-4E83-4C76-A3FF-4E839700E470}" presName="LevelTwoTextNode" presStyleLbl="node3" presStyleIdx="2" presStyleCnt="10" custScaleX="309754">
        <dgm:presLayoutVars>
          <dgm:chPref val="3"/>
        </dgm:presLayoutVars>
      </dgm:prSet>
      <dgm:spPr/>
    </dgm:pt>
    <dgm:pt modelId="{F473AB06-98AF-48A5-B917-E68E259C227E}" type="pres">
      <dgm:prSet presAssocID="{4BA2A960-4E83-4C76-A3FF-4E839700E470}" presName="level3hierChild" presStyleCnt="0"/>
      <dgm:spPr/>
    </dgm:pt>
    <dgm:pt modelId="{C5F5DB63-AAD2-44A7-81EE-CD2DAAEF1B7D}" type="pres">
      <dgm:prSet presAssocID="{82E06877-871A-4461-8146-9AE90814BA42}" presName="conn2-1" presStyleLbl="parChTrans1D2" presStyleIdx="2" presStyleCnt="5"/>
      <dgm:spPr/>
    </dgm:pt>
    <dgm:pt modelId="{6C789A22-5005-4ACC-B87A-E0636C16409C}" type="pres">
      <dgm:prSet presAssocID="{82E06877-871A-4461-8146-9AE90814BA42}" presName="connTx" presStyleLbl="parChTrans1D2" presStyleIdx="2" presStyleCnt="5"/>
      <dgm:spPr/>
    </dgm:pt>
    <dgm:pt modelId="{5104C5C9-50C7-4225-9410-5F4E862E9739}" type="pres">
      <dgm:prSet presAssocID="{E93FD00D-0F33-49CA-84F8-A24FF67B7996}" presName="root2" presStyleCnt="0"/>
      <dgm:spPr/>
    </dgm:pt>
    <dgm:pt modelId="{95E1ABA7-D3F0-46BE-91EB-80F19608D429}" type="pres">
      <dgm:prSet presAssocID="{E93FD00D-0F33-49CA-84F8-A24FF67B7996}" presName="LevelTwoTextNode" presStyleLbl="node2" presStyleIdx="2" presStyleCnt="5" custScaleX="143172">
        <dgm:presLayoutVars>
          <dgm:chPref val="3"/>
        </dgm:presLayoutVars>
      </dgm:prSet>
      <dgm:spPr/>
    </dgm:pt>
    <dgm:pt modelId="{06534D9C-0954-489C-985E-EBD6CBF8B248}" type="pres">
      <dgm:prSet presAssocID="{E93FD00D-0F33-49CA-84F8-A24FF67B7996}" presName="level3hierChild" presStyleCnt="0"/>
      <dgm:spPr/>
    </dgm:pt>
    <dgm:pt modelId="{1C3CB20C-6F34-4FC2-A71C-96631C6F918B}" type="pres">
      <dgm:prSet presAssocID="{AB3EEF87-590A-44AA-98F6-8A812D3A92A1}" presName="conn2-1" presStyleLbl="parChTrans1D3" presStyleIdx="3" presStyleCnt="10"/>
      <dgm:spPr/>
    </dgm:pt>
    <dgm:pt modelId="{A6F5DC4F-D572-410F-8EC3-54AF1B4984C0}" type="pres">
      <dgm:prSet presAssocID="{AB3EEF87-590A-44AA-98F6-8A812D3A92A1}" presName="connTx" presStyleLbl="parChTrans1D3" presStyleIdx="3" presStyleCnt="10"/>
      <dgm:spPr/>
    </dgm:pt>
    <dgm:pt modelId="{4CC2C43C-ECBB-4C42-9E69-12F795217EDD}" type="pres">
      <dgm:prSet presAssocID="{FDB18E9C-85AB-426D-9EDF-F2FAFBC54107}" presName="root2" presStyleCnt="0"/>
      <dgm:spPr/>
    </dgm:pt>
    <dgm:pt modelId="{1C230B10-2D2C-429A-95EF-4BB3D779EA16}" type="pres">
      <dgm:prSet presAssocID="{FDB18E9C-85AB-426D-9EDF-F2FAFBC54107}" presName="LevelTwoTextNode" presStyleLbl="node3" presStyleIdx="3" presStyleCnt="10" custScaleX="246046">
        <dgm:presLayoutVars>
          <dgm:chPref val="3"/>
        </dgm:presLayoutVars>
      </dgm:prSet>
      <dgm:spPr/>
    </dgm:pt>
    <dgm:pt modelId="{6651415C-6448-452E-8583-1E608A90BF67}" type="pres">
      <dgm:prSet presAssocID="{FDB18E9C-85AB-426D-9EDF-F2FAFBC54107}" presName="level3hierChild" presStyleCnt="0"/>
      <dgm:spPr/>
    </dgm:pt>
    <dgm:pt modelId="{BD1551B0-8C86-482D-B191-529ECABF595D}" type="pres">
      <dgm:prSet presAssocID="{6DC9F374-3D88-4A70-BBE8-96DD05A29623}" presName="conn2-1" presStyleLbl="parChTrans1D3" presStyleIdx="4" presStyleCnt="10"/>
      <dgm:spPr/>
    </dgm:pt>
    <dgm:pt modelId="{4605E42E-1E1D-4739-B2AA-2F7F9220D173}" type="pres">
      <dgm:prSet presAssocID="{6DC9F374-3D88-4A70-BBE8-96DD05A29623}" presName="connTx" presStyleLbl="parChTrans1D3" presStyleIdx="4" presStyleCnt="10"/>
      <dgm:spPr/>
    </dgm:pt>
    <dgm:pt modelId="{47F32B19-F2AF-449F-B326-155DEEB856AE}" type="pres">
      <dgm:prSet presAssocID="{3C5B4F91-15A2-4D0B-9258-A8B61D75A59F}" presName="root2" presStyleCnt="0"/>
      <dgm:spPr/>
    </dgm:pt>
    <dgm:pt modelId="{FF89077B-5AC9-4860-8AE4-7B235129910C}" type="pres">
      <dgm:prSet presAssocID="{3C5B4F91-15A2-4D0B-9258-A8B61D75A59F}" presName="LevelTwoTextNode" presStyleLbl="node3" presStyleIdx="4" presStyleCnt="10" custScaleX="246046">
        <dgm:presLayoutVars>
          <dgm:chPref val="3"/>
        </dgm:presLayoutVars>
      </dgm:prSet>
      <dgm:spPr/>
    </dgm:pt>
    <dgm:pt modelId="{82B094D4-F785-428D-838C-FE4E00D36B71}" type="pres">
      <dgm:prSet presAssocID="{3C5B4F91-15A2-4D0B-9258-A8B61D75A59F}" presName="level3hierChild" presStyleCnt="0"/>
      <dgm:spPr/>
    </dgm:pt>
    <dgm:pt modelId="{29040B46-E8B7-4BCD-81B6-428E6B945B5F}" type="pres">
      <dgm:prSet presAssocID="{92AA8C1A-AB13-4765-8142-EBD75A1E6F65}" presName="conn2-1" presStyleLbl="parChTrans1D3" presStyleIdx="5" presStyleCnt="10"/>
      <dgm:spPr/>
    </dgm:pt>
    <dgm:pt modelId="{E1802623-A414-439B-AD1B-CBAC1D07204F}" type="pres">
      <dgm:prSet presAssocID="{92AA8C1A-AB13-4765-8142-EBD75A1E6F65}" presName="connTx" presStyleLbl="parChTrans1D3" presStyleIdx="5" presStyleCnt="10"/>
      <dgm:spPr/>
    </dgm:pt>
    <dgm:pt modelId="{80FAC149-622C-4156-9EBD-7721D07D0040}" type="pres">
      <dgm:prSet presAssocID="{7160168E-625D-45C1-B60C-9BBCB2E34837}" presName="root2" presStyleCnt="0"/>
      <dgm:spPr/>
    </dgm:pt>
    <dgm:pt modelId="{4D1AAC64-12EF-4071-BEF7-00F3AAFFB41E}" type="pres">
      <dgm:prSet presAssocID="{7160168E-625D-45C1-B60C-9BBCB2E34837}" presName="LevelTwoTextNode" presStyleLbl="node3" presStyleIdx="5" presStyleCnt="10" custScaleX="246046">
        <dgm:presLayoutVars>
          <dgm:chPref val="3"/>
        </dgm:presLayoutVars>
      </dgm:prSet>
      <dgm:spPr/>
    </dgm:pt>
    <dgm:pt modelId="{D62447B8-35C0-4A79-8A2D-D96C02A7DD96}" type="pres">
      <dgm:prSet presAssocID="{7160168E-625D-45C1-B60C-9BBCB2E34837}" presName="level3hierChild" presStyleCnt="0"/>
      <dgm:spPr/>
    </dgm:pt>
    <dgm:pt modelId="{B29FD42C-75AF-4C4E-86A5-907594EBA33D}" type="pres">
      <dgm:prSet presAssocID="{24FB7D90-7694-4B3C-B3FA-E0AA4DB24758}" presName="conn2-1" presStyleLbl="parChTrans1D3" presStyleIdx="6" presStyleCnt="10"/>
      <dgm:spPr/>
    </dgm:pt>
    <dgm:pt modelId="{1F092491-C170-4410-A8F6-EDFFD09C492A}" type="pres">
      <dgm:prSet presAssocID="{24FB7D90-7694-4B3C-B3FA-E0AA4DB24758}" presName="connTx" presStyleLbl="parChTrans1D3" presStyleIdx="6" presStyleCnt="10"/>
      <dgm:spPr/>
    </dgm:pt>
    <dgm:pt modelId="{BB0BE300-908E-4242-B589-842E4E5CF28C}" type="pres">
      <dgm:prSet presAssocID="{1D3A8C81-ED7C-4475-8D67-9C86BD802117}" presName="root2" presStyleCnt="0"/>
      <dgm:spPr/>
    </dgm:pt>
    <dgm:pt modelId="{08F033FF-2B2F-45CB-BB5C-5B42F377C921}" type="pres">
      <dgm:prSet presAssocID="{1D3A8C81-ED7C-4475-8D67-9C86BD802117}" presName="LevelTwoTextNode" presStyleLbl="node3" presStyleIdx="6" presStyleCnt="10" custScaleX="246046">
        <dgm:presLayoutVars>
          <dgm:chPref val="3"/>
        </dgm:presLayoutVars>
      </dgm:prSet>
      <dgm:spPr/>
    </dgm:pt>
    <dgm:pt modelId="{C8FE1E62-46C1-439F-935E-A8EFA0389E7B}" type="pres">
      <dgm:prSet presAssocID="{1D3A8C81-ED7C-4475-8D67-9C86BD802117}" presName="level3hierChild" presStyleCnt="0"/>
      <dgm:spPr/>
    </dgm:pt>
    <dgm:pt modelId="{7AAD3895-0F3F-490A-A670-A34BDD398382}" type="pres">
      <dgm:prSet presAssocID="{B2A1436C-B88D-4EFD-901A-072F8E3EA131}" presName="conn2-1" presStyleLbl="parChTrans1D2" presStyleIdx="3" presStyleCnt="5"/>
      <dgm:spPr/>
    </dgm:pt>
    <dgm:pt modelId="{8648C321-0526-4FCB-9A68-78DA26F217F2}" type="pres">
      <dgm:prSet presAssocID="{B2A1436C-B88D-4EFD-901A-072F8E3EA131}" presName="connTx" presStyleLbl="parChTrans1D2" presStyleIdx="3" presStyleCnt="5"/>
      <dgm:spPr/>
    </dgm:pt>
    <dgm:pt modelId="{B7A422A9-9125-4831-BC78-BA8610D72A12}" type="pres">
      <dgm:prSet presAssocID="{6A9D63FC-7FA1-4BEA-AD17-00D7888099AD}" presName="root2" presStyleCnt="0"/>
      <dgm:spPr/>
    </dgm:pt>
    <dgm:pt modelId="{A42FAF19-211A-494F-B890-27FCC44E31F3}" type="pres">
      <dgm:prSet presAssocID="{6A9D63FC-7FA1-4BEA-AD17-00D7888099AD}" presName="LevelTwoTextNode" presStyleLbl="node2" presStyleIdx="3" presStyleCnt="5" custScaleX="143172">
        <dgm:presLayoutVars>
          <dgm:chPref val="3"/>
        </dgm:presLayoutVars>
      </dgm:prSet>
      <dgm:spPr/>
    </dgm:pt>
    <dgm:pt modelId="{623F657E-0B28-4876-A4CC-213D640DBA9D}" type="pres">
      <dgm:prSet presAssocID="{6A9D63FC-7FA1-4BEA-AD17-00D7888099AD}" presName="level3hierChild" presStyleCnt="0"/>
      <dgm:spPr/>
    </dgm:pt>
    <dgm:pt modelId="{4928FE66-4C82-491A-9FC5-3447046EEA67}" type="pres">
      <dgm:prSet presAssocID="{4C41D4C1-7613-4F27-8924-EFD2DB2D069F}" presName="conn2-1" presStyleLbl="parChTrans1D3" presStyleIdx="7" presStyleCnt="10"/>
      <dgm:spPr/>
    </dgm:pt>
    <dgm:pt modelId="{5FC6D112-6F92-4632-9507-FF26300363B6}" type="pres">
      <dgm:prSet presAssocID="{4C41D4C1-7613-4F27-8924-EFD2DB2D069F}" presName="connTx" presStyleLbl="parChTrans1D3" presStyleIdx="7" presStyleCnt="10"/>
      <dgm:spPr/>
    </dgm:pt>
    <dgm:pt modelId="{CBA11D80-3871-429E-B6EA-06C3D628C1F4}" type="pres">
      <dgm:prSet presAssocID="{1E18F1ED-3C9E-43EC-8749-C9676B6CC387}" presName="root2" presStyleCnt="0"/>
      <dgm:spPr/>
    </dgm:pt>
    <dgm:pt modelId="{1CF87F2E-ABFC-4E55-B68D-9172D8901194}" type="pres">
      <dgm:prSet presAssocID="{1E18F1ED-3C9E-43EC-8749-C9676B6CC387}" presName="LevelTwoTextNode" presStyleLbl="node3" presStyleIdx="7" presStyleCnt="10" custScaleX="246046">
        <dgm:presLayoutVars>
          <dgm:chPref val="3"/>
        </dgm:presLayoutVars>
      </dgm:prSet>
      <dgm:spPr/>
    </dgm:pt>
    <dgm:pt modelId="{0A7DC4DF-3707-4FCA-9EB0-CA3C0F4567ED}" type="pres">
      <dgm:prSet presAssocID="{1E18F1ED-3C9E-43EC-8749-C9676B6CC387}" presName="level3hierChild" presStyleCnt="0"/>
      <dgm:spPr/>
    </dgm:pt>
    <dgm:pt modelId="{DA18321B-7C20-4513-AAD2-D4AD5E05017D}" type="pres">
      <dgm:prSet presAssocID="{B8A5BF8E-F372-4507-8A89-04B5368BB211}" presName="conn2-1" presStyleLbl="parChTrans1D3" presStyleIdx="8" presStyleCnt="10"/>
      <dgm:spPr/>
    </dgm:pt>
    <dgm:pt modelId="{9361A1A6-D4CA-4E8C-A75E-D8C718A9689E}" type="pres">
      <dgm:prSet presAssocID="{B8A5BF8E-F372-4507-8A89-04B5368BB211}" presName="connTx" presStyleLbl="parChTrans1D3" presStyleIdx="8" presStyleCnt="10"/>
      <dgm:spPr/>
    </dgm:pt>
    <dgm:pt modelId="{0D564620-B024-4D00-B325-98FA45B7BDEE}" type="pres">
      <dgm:prSet presAssocID="{218DB312-18D6-4909-AB84-E0FF0784AFEF}" presName="root2" presStyleCnt="0"/>
      <dgm:spPr/>
    </dgm:pt>
    <dgm:pt modelId="{B2179E82-4408-4AD9-B9D0-E9A7342A835A}" type="pres">
      <dgm:prSet presAssocID="{218DB312-18D6-4909-AB84-E0FF0784AFEF}" presName="LevelTwoTextNode" presStyleLbl="node3" presStyleIdx="8" presStyleCnt="10" custScaleX="246046">
        <dgm:presLayoutVars>
          <dgm:chPref val="3"/>
        </dgm:presLayoutVars>
      </dgm:prSet>
      <dgm:spPr/>
    </dgm:pt>
    <dgm:pt modelId="{16EB2C63-7B29-4CB0-B886-76C3825A9987}" type="pres">
      <dgm:prSet presAssocID="{218DB312-18D6-4909-AB84-E0FF0784AFEF}" presName="level3hierChild" presStyleCnt="0"/>
      <dgm:spPr/>
    </dgm:pt>
    <dgm:pt modelId="{C8A2999F-E467-4C87-B764-FD504920E679}" type="pres">
      <dgm:prSet presAssocID="{28DF6652-0F47-4584-BBA3-98D5EE1B1446}" presName="conn2-1" presStyleLbl="parChTrans1D2" presStyleIdx="4" presStyleCnt="5"/>
      <dgm:spPr/>
    </dgm:pt>
    <dgm:pt modelId="{A3A37C95-5B2E-4BFF-935C-3E42F8D1E1E1}" type="pres">
      <dgm:prSet presAssocID="{28DF6652-0F47-4584-BBA3-98D5EE1B1446}" presName="connTx" presStyleLbl="parChTrans1D2" presStyleIdx="4" presStyleCnt="5"/>
      <dgm:spPr/>
    </dgm:pt>
    <dgm:pt modelId="{073C4B74-357D-405C-A156-8A6CA82F0EF5}" type="pres">
      <dgm:prSet presAssocID="{FF7A52FE-218E-4525-9180-3F0F14263598}" presName="root2" presStyleCnt="0"/>
      <dgm:spPr/>
    </dgm:pt>
    <dgm:pt modelId="{BFB384C6-3F40-4D90-84D7-656E9B77EB4D}" type="pres">
      <dgm:prSet presAssocID="{FF7A52FE-218E-4525-9180-3F0F14263598}" presName="LevelTwoTextNode" presStyleLbl="node2" presStyleIdx="4" presStyleCnt="5" custScaleX="143172">
        <dgm:presLayoutVars>
          <dgm:chPref val="3"/>
        </dgm:presLayoutVars>
      </dgm:prSet>
      <dgm:spPr/>
    </dgm:pt>
    <dgm:pt modelId="{333250A9-ACE2-47C9-8784-266FD3B73CE6}" type="pres">
      <dgm:prSet presAssocID="{FF7A52FE-218E-4525-9180-3F0F14263598}" presName="level3hierChild" presStyleCnt="0"/>
      <dgm:spPr/>
    </dgm:pt>
    <dgm:pt modelId="{A7642B7F-E921-4D31-8C63-E629ADB69471}" type="pres">
      <dgm:prSet presAssocID="{8735330F-DBF8-4EAC-85E2-1CC1C6A4AE44}" presName="conn2-1" presStyleLbl="parChTrans1D3" presStyleIdx="9" presStyleCnt="10"/>
      <dgm:spPr/>
    </dgm:pt>
    <dgm:pt modelId="{201B2E97-52C3-4DC5-B685-F8E8B2966F9A}" type="pres">
      <dgm:prSet presAssocID="{8735330F-DBF8-4EAC-85E2-1CC1C6A4AE44}" presName="connTx" presStyleLbl="parChTrans1D3" presStyleIdx="9" presStyleCnt="10"/>
      <dgm:spPr/>
    </dgm:pt>
    <dgm:pt modelId="{1EEEA251-572D-43B5-83BE-B1581455AD6A}" type="pres">
      <dgm:prSet presAssocID="{8D168E60-6197-4614-A519-8A42A3FA571E}" presName="root2" presStyleCnt="0"/>
      <dgm:spPr/>
    </dgm:pt>
    <dgm:pt modelId="{56D07DED-961B-4719-9669-C1C50277EF5F}" type="pres">
      <dgm:prSet presAssocID="{8D168E60-6197-4614-A519-8A42A3FA571E}" presName="LevelTwoTextNode" presStyleLbl="node3" presStyleIdx="9" presStyleCnt="10" custScaleX="246046">
        <dgm:presLayoutVars>
          <dgm:chPref val="3"/>
        </dgm:presLayoutVars>
      </dgm:prSet>
      <dgm:spPr/>
    </dgm:pt>
    <dgm:pt modelId="{AE797BF4-8A96-429C-B520-4605864DBA06}" type="pres">
      <dgm:prSet presAssocID="{8D168E60-6197-4614-A519-8A42A3FA571E}" presName="level3hierChild" presStyleCnt="0"/>
      <dgm:spPr/>
    </dgm:pt>
  </dgm:ptLst>
  <dgm:cxnLst>
    <dgm:cxn modelId="{8E243403-CF59-4452-9FC7-39D2BD57A184}" type="presOf" srcId="{A5592FF3-B375-41F2-AC2B-29CE9E3C0347}" destId="{10F6BD1A-09D4-4DDF-AFD4-48D45EB93024}" srcOrd="0" destOrd="0" presId="urn:microsoft.com/office/officeart/2008/layout/HorizontalMultiLevelHierarchy"/>
    <dgm:cxn modelId="{9942E103-508D-49FF-A3C7-568392638E2C}" type="presOf" srcId="{E93FD00D-0F33-49CA-84F8-A24FF67B7996}" destId="{95E1ABA7-D3F0-46BE-91EB-80F19608D429}" srcOrd="0" destOrd="0" presId="urn:microsoft.com/office/officeart/2008/layout/HorizontalMultiLevelHierarchy"/>
    <dgm:cxn modelId="{BA430409-AB35-4E4D-8C5C-9182A63ADF08}" type="presOf" srcId="{2F41698A-C0E2-4750-8917-3D6C630632C9}" destId="{0756056B-EDAB-42D0-84C7-2CEB1CB71CF4}" srcOrd="0" destOrd="0" presId="urn:microsoft.com/office/officeart/2008/layout/HorizontalMultiLevelHierarchy"/>
    <dgm:cxn modelId="{3BF1701A-D967-41BE-8109-E6B157493728}" type="presOf" srcId="{6CA75B29-9673-46EC-8E34-8E4F8CF6E4FF}" destId="{876B423C-3190-4967-83DF-0604BBCB998D}" srcOrd="0" destOrd="0" presId="urn:microsoft.com/office/officeart/2008/layout/HorizontalMultiLevelHierarchy"/>
    <dgm:cxn modelId="{C66EF41D-318D-48B5-9BAE-316A74BF5FD4}" type="presOf" srcId="{D626BD16-4632-4921-A7B8-3378C5EB3763}" destId="{976AAF58-02BA-4A83-9117-4177346BEECE}" srcOrd="1" destOrd="0" presId="urn:microsoft.com/office/officeart/2008/layout/HorizontalMultiLevelHierarchy"/>
    <dgm:cxn modelId="{E250E71F-0347-4B3E-BCD8-3FB127C95A78}" srcId="{6CA75B29-9673-46EC-8E34-8E4F8CF6E4FF}" destId="{6A9D63FC-7FA1-4BEA-AD17-00D7888099AD}" srcOrd="3" destOrd="0" parTransId="{B2A1436C-B88D-4EFD-901A-072F8E3EA131}" sibTransId="{428E17BB-89B7-4C73-92A9-E6C79AB23A87}"/>
    <dgm:cxn modelId="{166D2121-F3D0-4670-9018-C8B59990E707}" type="presOf" srcId="{7865B591-985F-45CA-A6C7-63C080EF0ABC}" destId="{D71DB4A9-36E8-4390-A1BD-4007AC791BF8}" srcOrd="0" destOrd="0" presId="urn:microsoft.com/office/officeart/2008/layout/HorizontalMultiLevelHierarchy"/>
    <dgm:cxn modelId="{BD9B0528-F688-4A35-8938-02ED71E0AA8C}" type="presOf" srcId="{1B914ADD-DC6F-4265-90C2-FB3B6F2EC966}" destId="{EC445E4A-BDAF-4F52-B9CD-BCA7757B25D4}" srcOrd="1" destOrd="0" presId="urn:microsoft.com/office/officeart/2008/layout/HorizontalMultiLevelHierarchy"/>
    <dgm:cxn modelId="{C3DE1C2A-4F42-4042-908A-5EDEE36B73AC}" srcId="{E93FD00D-0F33-49CA-84F8-A24FF67B7996}" destId="{FDB18E9C-85AB-426D-9EDF-F2FAFBC54107}" srcOrd="0" destOrd="0" parTransId="{AB3EEF87-590A-44AA-98F6-8A812D3A92A1}" sibTransId="{3B642D17-3F5A-4468-8E05-995C6B35D89C}"/>
    <dgm:cxn modelId="{B754D631-A1EF-4328-A999-76D3112B9B6C}" srcId="{6CA75B29-9673-46EC-8E34-8E4F8CF6E4FF}" destId="{E93FD00D-0F33-49CA-84F8-A24FF67B7996}" srcOrd="2" destOrd="0" parTransId="{82E06877-871A-4461-8146-9AE90814BA42}" sibTransId="{DE77B321-35B6-46F9-A1A8-0A7394C4A463}"/>
    <dgm:cxn modelId="{3AEE3035-590D-4702-88F2-3E9D4E6E6D33}" srcId="{6A9D63FC-7FA1-4BEA-AD17-00D7888099AD}" destId="{218DB312-18D6-4909-AB84-E0FF0784AFEF}" srcOrd="1" destOrd="0" parTransId="{B8A5BF8E-F372-4507-8A89-04B5368BB211}" sibTransId="{A0933D63-CADC-46BA-8CFC-8780BA7CB311}"/>
    <dgm:cxn modelId="{0DFD9B39-0716-410A-832D-5E3928954BA9}" type="presOf" srcId="{8735330F-DBF8-4EAC-85E2-1CC1C6A4AE44}" destId="{201B2E97-52C3-4DC5-B685-F8E8B2966F9A}" srcOrd="1" destOrd="0" presId="urn:microsoft.com/office/officeart/2008/layout/HorizontalMultiLevelHierarchy"/>
    <dgm:cxn modelId="{610EAC3C-AE0D-4BD5-B3B4-ECC6DDFA0015}" type="presOf" srcId="{B2A1436C-B88D-4EFD-901A-072F8E3EA131}" destId="{7AAD3895-0F3F-490A-A670-A34BDD398382}" srcOrd="0" destOrd="0" presId="urn:microsoft.com/office/officeart/2008/layout/HorizontalMultiLevelHierarchy"/>
    <dgm:cxn modelId="{DE54533D-5BAD-4D2C-9424-BE6620F8A6F5}" type="presOf" srcId="{28DF6652-0F47-4584-BBA3-98D5EE1B1446}" destId="{C8A2999F-E467-4C87-B764-FD504920E679}" srcOrd="0" destOrd="0" presId="urn:microsoft.com/office/officeart/2008/layout/HorizontalMultiLevelHierarchy"/>
    <dgm:cxn modelId="{4D1E5C3E-0846-4931-B20C-4F09320E055B}" type="presOf" srcId="{4C41D4C1-7613-4F27-8924-EFD2DB2D069F}" destId="{4928FE66-4C82-491A-9FC5-3447046EEA67}" srcOrd="0" destOrd="0" presId="urn:microsoft.com/office/officeart/2008/layout/HorizontalMultiLevelHierarchy"/>
    <dgm:cxn modelId="{E9006A60-631F-41B9-B21B-233FD13D4124}" type="presOf" srcId="{110D466E-153B-4F3F-B8FD-0D8A4D411E5B}" destId="{AC903DF3-7D0F-4488-8A6C-3DED2BA6BC02}" srcOrd="1" destOrd="0" presId="urn:microsoft.com/office/officeart/2008/layout/HorizontalMultiLevelHierarchy"/>
    <dgm:cxn modelId="{D2110163-1B35-46ED-A5EC-E8FE9C6CD36E}" srcId="{A5592FF3-B375-41F2-AC2B-29CE9E3C0347}" destId="{7865B591-985F-45CA-A6C7-63C080EF0ABC}" srcOrd="1" destOrd="0" parTransId="{D626BD16-4632-4921-A7B8-3378C5EB3763}" sibTransId="{481D31CB-A2F8-45E9-820B-F96019083E39}"/>
    <dgm:cxn modelId="{C2D3A243-73DC-4801-9419-987E366ECED9}" type="presOf" srcId="{3EB3958C-EB87-44EE-A22D-F869F1F572C5}" destId="{6DD2ED10-EACE-4FD5-B9BC-F833A319D28D}" srcOrd="0" destOrd="0" presId="urn:microsoft.com/office/officeart/2008/layout/HorizontalMultiLevelHierarchy"/>
    <dgm:cxn modelId="{08DFA943-7CC8-4048-A239-6BCF275E26C6}" type="presOf" srcId="{28DF6652-0F47-4584-BBA3-98D5EE1B1446}" destId="{A3A37C95-5B2E-4BFF-935C-3E42F8D1E1E1}" srcOrd="1" destOrd="0" presId="urn:microsoft.com/office/officeart/2008/layout/HorizontalMultiLevelHierarchy"/>
    <dgm:cxn modelId="{7967164A-A7A0-452C-A58B-71A4D73C6055}" type="presOf" srcId="{6A9D63FC-7FA1-4BEA-AD17-00D7888099AD}" destId="{A42FAF19-211A-494F-B890-27FCC44E31F3}" srcOrd="0" destOrd="0" presId="urn:microsoft.com/office/officeart/2008/layout/HorizontalMultiLevelHierarchy"/>
    <dgm:cxn modelId="{8D24C76D-4AF5-41AC-8018-0501E029C840}" type="presOf" srcId="{24FB7D90-7694-4B3C-B3FA-E0AA4DB24758}" destId="{1F092491-C170-4410-A8F6-EDFFD09C492A}" srcOrd="1" destOrd="0" presId="urn:microsoft.com/office/officeart/2008/layout/HorizontalMultiLevelHierarchy"/>
    <dgm:cxn modelId="{00F44A4E-B6E0-48C8-BAF4-D24A59A54148}" type="presOf" srcId="{4BA2A960-4E83-4C76-A3FF-4E839700E470}" destId="{CE39256C-2C1C-4A2E-8AB9-C90FF07AD830}" srcOrd="0" destOrd="0" presId="urn:microsoft.com/office/officeart/2008/layout/HorizontalMultiLevelHierarchy"/>
    <dgm:cxn modelId="{0D9E2173-8E00-4B7D-BA40-60C2454B823B}" type="presOf" srcId="{AB3EEF87-590A-44AA-98F6-8A812D3A92A1}" destId="{A6F5DC4F-D572-410F-8EC3-54AF1B4984C0}" srcOrd="1" destOrd="0" presId="urn:microsoft.com/office/officeart/2008/layout/HorizontalMultiLevelHierarchy"/>
    <dgm:cxn modelId="{4152F374-D525-4A69-B3F5-011869665495}" type="presOf" srcId="{8735330F-DBF8-4EAC-85E2-1CC1C6A4AE44}" destId="{A7642B7F-E921-4D31-8C63-E629ADB69471}" srcOrd="0" destOrd="0" presId="urn:microsoft.com/office/officeart/2008/layout/HorizontalMultiLevelHierarchy"/>
    <dgm:cxn modelId="{A2C24675-EF72-449D-AB17-E23D9ED64A87}" srcId="{6A9D63FC-7FA1-4BEA-AD17-00D7888099AD}" destId="{1E18F1ED-3C9E-43EC-8749-C9676B6CC387}" srcOrd="0" destOrd="0" parTransId="{4C41D4C1-7613-4F27-8924-EFD2DB2D069F}" sibTransId="{F0444F20-151C-451E-B851-ED2086961017}"/>
    <dgm:cxn modelId="{572C0256-773C-4FAF-A2D6-843A8D978383}" type="presOf" srcId="{92AA8C1A-AB13-4765-8142-EBD75A1E6F65}" destId="{29040B46-E8B7-4BCD-81B6-428E6B945B5F}" srcOrd="0" destOrd="0" presId="urn:microsoft.com/office/officeart/2008/layout/HorizontalMultiLevelHierarchy"/>
    <dgm:cxn modelId="{63FEEA76-3742-46B9-B9A3-CD90975DE735}" type="presOf" srcId="{407AFA0C-C5D7-4367-B72F-9995DC652BC4}" destId="{CA5E1CDE-EE34-49E9-B13A-CD9871616054}" srcOrd="0" destOrd="0" presId="urn:microsoft.com/office/officeart/2008/layout/HorizontalMultiLevelHierarchy"/>
    <dgm:cxn modelId="{F967C557-BA53-44C6-926D-C854A51176F6}" srcId="{FF7A52FE-218E-4525-9180-3F0F14263598}" destId="{8D168E60-6197-4614-A519-8A42A3FA571E}" srcOrd="0" destOrd="0" parTransId="{8735330F-DBF8-4EAC-85E2-1CC1C6A4AE44}" sibTransId="{D8AAFC20-D4B4-4D51-90E5-A5F65227A74D}"/>
    <dgm:cxn modelId="{D95D6C7E-AC19-4B22-A90E-CDD7E70822AA}" type="presOf" srcId="{2F2BB214-DD49-4BD8-96C0-B321915F02A4}" destId="{940FF0D5-3C57-404B-8113-05B69BA1A9D4}" srcOrd="0" destOrd="0" presId="urn:microsoft.com/office/officeart/2008/layout/HorizontalMultiLevelHierarchy"/>
    <dgm:cxn modelId="{1B76487F-6747-41E2-A68D-18A0865B6C41}" type="presOf" srcId="{82E06877-871A-4461-8146-9AE90814BA42}" destId="{6C789A22-5005-4ACC-B87A-E0636C16409C}" srcOrd="1" destOrd="0" presId="urn:microsoft.com/office/officeart/2008/layout/HorizontalMultiLevelHierarchy"/>
    <dgm:cxn modelId="{C4E64F80-0A3D-4877-A688-93CFCE00C558}" type="presOf" srcId="{FF7A52FE-218E-4525-9180-3F0F14263598}" destId="{BFB384C6-3F40-4D90-84D7-656E9B77EB4D}" srcOrd="0" destOrd="0" presId="urn:microsoft.com/office/officeart/2008/layout/HorizontalMultiLevelHierarchy"/>
    <dgm:cxn modelId="{6897CA80-D2CD-4EB9-B61D-F67F0F52DD6C}" type="presOf" srcId="{4C41D4C1-7613-4F27-8924-EFD2DB2D069F}" destId="{5FC6D112-6F92-4632-9507-FF26300363B6}" srcOrd="1" destOrd="0" presId="urn:microsoft.com/office/officeart/2008/layout/HorizontalMultiLevelHierarchy"/>
    <dgm:cxn modelId="{E745C28B-2198-4B51-BEDF-60C10A4A47D8}" srcId="{6CA75B29-9673-46EC-8E34-8E4F8CF6E4FF}" destId="{A5592FF3-B375-41F2-AC2B-29CE9E3C0347}" srcOrd="0" destOrd="0" parTransId="{110D466E-153B-4F3F-B8FD-0D8A4D411E5B}" sibTransId="{6A4E4447-80A1-4882-ACAE-5C0CCE05247D}"/>
    <dgm:cxn modelId="{F237E090-58A8-4C2B-AE23-ACAF7721C92B}" srcId="{407AFA0C-C5D7-4367-B72F-9995DC652BC4}" destId="{6CA75B29-9673-46EC-8E34-8E4F8CF6E4FF}" srcOrd="0" destOrd="0" parTransId="{5D9791D1-2DE4-4F16-A48F-458343A879E1}" sibTransId="{F9AE63BF-A3E8-4124-BF94-A8208570FBA7}"/>
    <dgm:cxn modelId="{03671A92-2DED-46E2-80F7-A93109E15A01}" type="presOf" srcId="{24FB7D90-7694-4B3C-B3FA-E0AA4DB24758}" destId="{B29FD42C-75AF-4C4E-86A5-907594EBA33D}" srcOrd="0" destOrd="0" presId="urn:microsoft.com/office/officeart/2008/layout/HorizontalMultiLevelHierarchy"/>
    <dgm:cxn modelId="{5B32AB97-C4DE-4B94-828F-2405DA1259A4}" type="presOf" srcId="{7160168E-625D-45C1-B60C-9BBCB2E34837}" destId="{4D1AAC64-12EF-4071-BEF7-00F3AAFFB41E}" srcOrd="0" destOrd="0" presId="urn:microsoft.com/office/officeart/2008/layout/HorizontalMultiLevelHierarchy"/>
    <dgm:cxn modelId="{76BE2499-63C0-4B3D-8622-AA82197EC0E4}" srcId="{E93FD00D-0F33-49CA-84F8-A24FF67B7996}" destId="{1D3A8C81-ED7C-4475-8D67-9C86BD802117}" srcOrd="3" destOrd="0" parTransId="{24FB7D90-7694-4B3C-B3FA-E0AA4DB24758}" sibTransId="{E28CC502-6A8B-4B33-A9FD-FF8F0F1F9A99}"/>
    <dgm:cxn modelId="{0750D6A2-ADB3-47E1-B9E8-78AD31395A6A}" type="presOf" srcId="{82E06877-871A-4461-8146-9AE90814BA42}" destId="{C5F5DB63-AAD2-44A7-81EE-CD2DAAEF1B7D}" srcOrd="0" destOrd="0" presId="urn:microsoft.com/office/officeart/2008/layout/HorizontalMultiLevelHierarchy"/>
    <dgm:cxn modelId="{3894F5A2-5ED1-455F-9503-8DBBEBDB5F60}" type="presOf" srcId="{8D168E60-6197-4614-A519-8A42A3FA571E}" destId="{56D07DED-961B-4719-9669-C1C50277EF5F}" srcOrd="0" destOrd="0" presId="urn:microsoft.com/office/officeart/2008/layout/HorizontalMultiLevelHierarchy"/>
    <dgm:cxn modelId="{BE6FF0A6-5C74-4CE7-8DCF-A5F025FA83EE}" type="presOf" srcId="{218DB312-18D6-4909-AB84-E0FF0784AFEF}" destId="{B2179E82-4408-4AD9-B9D0-E9A7342A835A}" srcOrd="0" destOrd="0" presId="urn:microsoft.com/office/officeart/2008/layout/HorizontalMultiLevelHierarchy"/>
    <dgm:cxn modelId="{1B858EA8-36D4-45C7-8769-6FB5187E2241}" srcId="{E93FD00D-0F33-49CA-84F8-A24FF67B7996}" destId="{3C5B4F91-15A2-4D0B-9258-A8B61D75A59F}" srcOrd="1" destOrd="0" parTransId="{6DC9F374-3D88-4A70-BBE8-96DD05A29623}" sibTransId="{5930C5B8-13A1-4BA1-9EC2-2F89ACE05BC4}"/>
    <dgm:cxn modelId="{D137F5B3-6A36-4D19-BC03-EB5E4653D906}" type="presOf" srcId="{D626BD16-4632-4921-A7B8-3378C5EB3763}" destId="{07E1AC76-A19C-4EE6-A97D-DB10C23167F2}" srcOrd="0" destOrd="0" presId="urn:microsoft.com/office/officeart/2008/layout/HorizontalMultiLevelHierarchy"/>
    <dgm:cxn modelId="{0CC1BBB8-FF52-43FE-852D-CBE2B2F79F89}" type="presOf" srcId="{2F2BB214-DD49-4BD8-96C0-B321915F02A4}" destId="{9DAAD9BE-DE0D-4845-BC00-2DE1435FCD00}" srcOrd="1" destOrd="0" presId="urn:microsoft.com/office/officeart/2008/layout/HorizontalMultiLevelHierarchy"/>
    <dgm:cxn modelId="{96640DBE-6F14-450C-ACBF-FB005662E990}" type="presOf" srcId="{1B914ADD-DC6F-4265-90C2-FB3B6F2EC966}" destId="{D864782E-E0C8-4912-BE81-BBC134058F6E}" srcOrd="0" destOrd="0" presId="urn:microsoft.com/office/officeart/2008/layout/HorizontalMultiLevelHierarchy"/>
    <dgm:cxn modelId="{4E232BC0-75CA-4B3E-B44C-15A9E49C6671}" srcId="{2F41698A-C0E2-4750-8917-3D6C630632C9}" destId="{4BA2A960-4E83-4C76-A3FF-4E839700E470}" srcOrd="0" destOrd="0" parTransId="{2F2BB214-DD49-4BD8-96C0-B321915F02A4}" sibTransId="{29AE9DA0-27D9-4C1C-B59C-E72758E75B50}"/>
    <dgm:cxn modelId="{201F2EC4-5257-4FBF-8516-4EED2999C50D}" type="presOf" srcId="{D762B263-C4D4-4DC6-BAFC-568C99E91857}" destId="{27817BB4-D168-4FEA-A5C7-7E3A4A29FBD1}" srcOrd="0" destOrd="0" presId="urn:microsoft.com/office/officeart/2008/layout/HorizontalMultiLevelHierarchy"/>
    <dgm:cxn modelId="{6F1FEEC7-3244-498F-96ED-DFCB17C98E5A}" srcId="{E93FD00D-0F33-49CA-84F8-A24FF67B7996}" destId="{7160168E-625D-45C1-B60C-9BBCB2E34837}" srcOrd="2" destOrd="0" parTransId="{92AA8C1A-AB13-4765-8142-EBD75A1E6F65}" sibTransId="{F55DEE25-2C81-43AA-85F9-5CDA79A1C6DB}"/>
    <dgm:cxn modelId="{42B0DAC8-2B13-4844-AD7C-9639011A0F70}" srcId="{6CA75B29-9673-46EC-8E34-8E4F8CF6E4FF}" destId="{2F41698A-C0E2-4750-8917-3D6C630632C9}" srcOrd="1" destOrd="0" parTransId="{1B914ADD-DC6F-4265-90C2-FB3B6F2EC966}" sibTransId="{73FA1F0F-30C4-484C-8B01-362694221682}"/>
    <dgm:cxn modelId="{7D0B7AC9-595A-47ED-8628-80016EA952A6}" type="presOf" srcId="{B8A5BF8E-F372-4507-8A89-04B5368BB211}" destId="{DA18321B-7C20-4513-AAD2-D4AD5E05017D}" srcOrd="0" destOrd="0" presId="urn:microsoft.com/office/officeart/2008/layout/HorizontalMultiLevelHierarchy"/>
    <dgm:cxn modelId="{4D3266CB-182B-4DD9-8072-AD4CC7F18A1F}" type="presOf" srcId="{3C5B4F91-15A2-4D0B-9258-A8B61D75A59F}" destId="{FF89077B-5AC9-4860-8AE4-7B235129910C}" srcOrd="0" destOrd="0" presId="urn:microsoft.com/office/officeart/2008/layout/HorizontalMultiLevelHierarchy"/>
    <dgm:cxn modelId="{5FD3B9CE-50D1-4763-A27D-BFBC06B21E0A}" type="presOf" srcId="{6DC9F374-3D88-4A70-BBE8-96DD05A29623}" destId="{BD1551B0-8C86-482D-B191-529ECABF595D}" srcOrd="0" destOrd="0" presId="urn:microsoft.com/office/officeart/2008/layout/HorizontalMultiLevelHierarchy"/>
    <dgm:cxn modelId="{18D82DCF-DED7-40B5-BA50-7212456559AD}" srcId="{A5592FF3-B375-41F2-AC2B-29CE9E3C0347}" destId="{3EB3958C-EB87-44EE-A22D-F869F1F572C5}" srcOrd="0" destOrd="0" parTransId="{D762B263-C4D4-4DC6-BAFC-568C99E91857}" sibTransId="{A8F1A8AF-BCE1-4E13-9FBA-D5403BBD6536}"/>
    <dgm:cxn modelId="{83953FD1-E082-4EFD-9C87-EA2C5721B2DE}" type="presOf" srcId="{6DC9F374-3D88-4A70-BBE8-96DD05A29623}" destId="{4605E42E-1E1D-4739-B2AA-2F7F9220D173}" srcOrd="1" destOrd="0" presId="urn:microsoft.com/office/officeart/2008/layout/HorizontalMultiLevelHierarchy"/>
    <dgm:cxn modelId="{3C1C08D2-2B51-4859-9B39-04614CA8A0F3}" type="presOf" srcId="{AB3EEF87-590A-44AA-98F6-8A812D3A92A1}" destId="{1C3CB20C-6F34-4FC2-A71C-96631C6F918B}" srcOrd="0" destOrd="0" presId="urn:microsoft.com/office/officeart/2008/layout/HorizontalMultiLevelHierarchy"/>
    <dgm:cxn modelId="{DA288DD3-ED89-4D91-87FD-4E15BABCD11B}" type="presOf" srcId="{110D466E-153B-4F3F-B8FD-0D8A4D411E5B}" destId="{338F5B5B-65E1-423C-9EA2-10B498E062A0}" srcOrd="0" destOrd="0" presId="urn:microsoft.com/office/officeart/2008/layout/HorizontalMultiLevelHierarchy"/>
    <dgm:cxn modelId="{D50E96D5-699F-4DDF-9651-C9ECBE1513B9}" type="presOf" srcId="{B2A1436C-B88D-4EFD-901A-072F8E3EA131}" destId="{8648C321-0526-4FCB-9A68-78DA26F217F2}" srcOrd="1" destOrd="0" presId="urn:microsoft.com/office/officeart/2008/layout/HorizontalMultiLevelHierarchy"/>
    <dgm:cxn modelId="{896CABDB-54ED-4EA4-9FB3-6AEB0345B72C}" srcId="{6CA75B29-9673-46EC-8E34-8E4F8CF6E4FF}" destId="{FF7A52FE-218E-4525-9180-3F0F14263598}" srcOrd="4" destOrd="0" parTransId="{28DF6652-0F47-4584-BBA3-98D5EE1B1446}" sibTransId="{3991CD25-5913-43A0-9866-60051A20FF7B}"/>
    <dgm:cxn modelId="{D04257DC-55C1-41D6-8D9A-94A0C3DBDD77}" type="presOf" srcId="{B8A5BF8E-F372-4507-8A89-04B5368BB211}" destId="{9361A1A6-D4CA-4E8C-A75E-D8C718A9689E}" srcOrd="1" destOrd="0" presId="urn:microsoft.com/office/officeart/2008/layout/HorizontalMultiLevelHierarchy"/>
    <dgm:cxn modelId="{590A54DD-C858-4521-9D6E-64FE330056C7}" type="presOf" srcId="{FDB18E9C-85AB-426D-9EDF-F2FAFBC54107}" destId="{1C230B10-2D2C-429A-95EF-4BB3D779EA16}" srcOrd="0" destOrd="0" presId="urn:microsoft.com/office/officeart/2008/layout/HorizontalMultiLevelHierarchy"/>
    <dgm:cxn modelId="{4E4435E0-4CBC-45E3-9881-53EF4E5A1AFD}" type="presOf" srcId="{1E18F1ED-3C9E-43EC-8749-C9676B6CC387}" destId="{1CF87F2E-ABFC-4E55-B68D-9172D8901194}" srcOrd="0" destOrd="0" presId="urn:microsoft.com/office/officeart/2008/layout/HorizontalMultiLevelHierarchy"/>
    <dgm:cxn modelId="{62A3D7E0-88A0-4EC0-8759-809FFAA6EE0A}" type="presOf" srcId="{1D3A8C81-ED7C-4475-8D67-9C86BD802117}" destId="{08F033FF-2B2F-45CB-BB5C-5B42F377C921}" srcOrd="0" destOrd="0" presId="urn:microsoft.com/office/officeart/2008/layout/HorizontalMultiLevelHierarchy"/>
    <dgm:cxn modelId="{9EABD0F2-4015-4299-8BF9-A2E90D96962E}" type="presOf" srcId="{D762B263-C4D4-4DC6-BAFC-568C99E91857}" destId="{519F1D25-5717-4B22-9CCF-2EA1ED3BE991}" srcOrd="1" destOrd="0" presId="urn:microsoft.com/office/officeart/2008/layout/HorizontalMultiLevelHierarchy"/>
    <dgm:cxn modelId="{D0653BF3-9605-4909-9BC1-E34D0EC24F41}" type="presOf" srcId="{92AA8C1A-AB13-4765-8142-EBD75A1E6F65}" destId="{E1802623-A414-439B-AD1B-CBAC1D07204F}" srcOrd="1" destOrd="0" presId="urn:microsoft.com/office/officeart/2008/layout/HorizontalMultiLevelHierarchy"/>
    <dgm:cxn modelId="{AD85B0D9-81F6-46E2-92FC-EB3718366487}" type="presParOf" srcId="{CA5E1CDE-EE34-49E9-B13A-CD9871616054}" destId="{A2DF0522-355D-49C8-9F8A-91BBAC7A2EF6}" srcOrd="0" destOrd="0" presId="urn:microsoft.com/office/officeart/2008/layout/HorizontalMultiLevelHierarchy"/>
    <dgm:cxn modelId="{BCCDF7D1-50FF-46E5-B19D-5B8F8D3301B5}" type="presParOf" srcId="{A2DF0522-355D-49C8-9F8A-91BBAC7A2EF6}" destId="{876B423C-3190-4967-83DF-0604BBCB998D}" srcOrd="0" destOrd="0" presId="urn:microsoft.com/office/officeart/2008/layout/HorizontalMultiLevelHierarchy"/>
    <dgm:cxn modelId="{57945AF0-0A23-4021-BFC9-CD8905519131}" type="presParOf" srcId="{A2DF0522-355D-49C8-9F8A-91BBAC7A2EF6}" destId="{70CE364E-100C-4598-9D18-E14E5B3139E0}" srcOrd="1" destOrd="0" presId="urn:microsoft.com/office/officeart/2008/layout/HorizontalMultiLevelHierarchy"/>
    <dgm:cxn modelId="{AD7D888E-27F1-449F-B66D-DD4B0A0B1966}" type="presParOf" srcId="{70CE364E-100C-4598-9D18-E14E5B3139E0}" destId="{338F5B5B-65E1-423C-9EA2-10B498E062A0}" srcOrd="0" destOrd="0" presId="urn:microsoft.com/office/officeart/2008/layout/HorizontalMultiLevelHierarchy"/>
    <dgm:cxn modelId="{AC1DE19A-B2E9-4D73-B485-CCFF3D58720F}" type="presParOf" srcId="{338F5B5B-65E1-423C-9EA2-10B498E062A0}" destId="{AC903DF3-7D0F-4488-8A6C-3DED2BA6BC02}" srcOrd="0" destOrd="0" presId="urn:microsoft.com/office/officeart/2008/layout/HorizontalMultiLevelHierarchy"/>
    <dgm:cxn modelId="{FBBEEA21-B709-4C90-B004-BEFA947E3853}" type="presParOf" srcId="{70CE364E-100C-4598-9D18-E14E5B3139E0}" destId="{727FE7B9-1719-4360-B507-BFE3BB219AFB}" srcOrd="1" destOrd="0" presId="urn:microsoft.com/office/officeart/2008/layout/HorizontalMultiLevelHierarchy"/>
    <dgm:cxn modelId="{0A2B41F3-9C54-4BC2-921E-072A850CE206}" type="presParOf" srcId="{727FE7B9-1719-4360-B507-BFE3BB219AFB}" destId="{10F6BD1A-09D4-4DDF-AFD4-48D45EB93024}" srcOrd="0" destOrd="0" presId="urn:microsoft.com/office/officeart/2008/layout/HorizontalMultiLevelHierarchy"/>
    <dgm:cxn modelId="{B957327E-8A93-40EC-AB75-69774F63FC55}" type="presParOf" srcId="{727FE7B9-1719-4360-B507-BFE3BB219AFB}" destId="{1D2A6658-BD45-48E4-8F5F-5DFDA9C32EE6}" srcOrd="1" destOrd="0" presId="urn:microsoft.com/office/officeart/2008/layout/HorizontalMultiLevelHierarchy"/>
    <dgm:cxn modelId="{8A30F840-0039-48BD-AE4C-886A4A8E9A2A}" type="presParOf" srcId="{1D2A6658-BD45-48E4-8F5F-5DFDA9C32EE6}" destId="{27817BB4-D168-4FEA-A5C7-7E3A4A29FBD1}" srcOrd="0" destOrd="0" presId="urn:microsoft.com/office/officeart/2008/layout/HorizontalMultiLevelHierarchy"/>
    <dgm:cxn modelId="{BB5595F4-01F1-4A74-9FA0-50F866535DE0}" type="presParOf" srcId="{27817BB4-D168-4FEA-A5C7-7E3A4A29FBD1}" destId="{519F1D25-5717-4B22-9CCF-2EA1ED3BE991}" srcOrd="0" destOrd="0" presId="urn:microsoft.com/office/officeart/2008/layout/HorizontalMultiLevelHierarchy"/>
    <dgm:cxn modelId="{A16BF85D-2330-4D3F-9839-A7692ED6EA0A}" type="presParOf" srcId="{1D2A6658-BD45-48E4-8F5F-5DFDA9C32EE6}" destId="{DD3244E0-F815-459F-8A62-5F28346AC6F1}" srcOrd="1" destOrd="0" presId="urn:microsoft.com/office/officeart/2008/layout/HorizontalMultiLevelHierarchy"/>
    <dgm:cxn modelId="{B9E3A96A-789F-451E-ADD9-E402D00362FD}" type="presParOf" srcId="{DD3244E0-F815-459F-8A62-5F28346AC6F1}" destId="{6DD2ED10-EACE-4FD5-B9BC-F833A319D28D}" srcOrd="0" destOrd="0" presId="urn:microsoft.com/office/officeart/2008/layout/HorizontalMultiLevelHierarchy"/>
    <dgm:cxn modelId="{01097043-4FC3-4576-8CAB-615B454723BA}" type="presParOf" srcId="{DD3244E0-F815-459F-8A62-5F28346AC6F1}" destId="{A0B936A6-DCBE-4E51-ABBF-7AE330A3862D}" srcOrd="1" destOrd="0" presId="urn:microsoft.com/office/officeart/2008/layout/HorizontalMultiLevelHierarchy"/>
    <dgm:cxn modelId="{AAFCDE00-750E-4632-8660-8B0B33E3F7DC}" type="presParOf" srcId="{1D2A6658-BD45-48E4-8F5F-5DFDA9C32EE6}" destId="{07E1AC76-A19C-4EE6-A97D-DB10C23167F2}" srcOrd="2" destOrd="0" presId="urn:microsoft.com/office/officeart/2008/layout/HorizontalMultiLevelHierarchy"/>
    <dgm:cxn modelId="{373724F8-B752-439C-AAEB-7384D95EB708}" type="presParOf" srcId="{07E1AC76-A19C-4EE6-A97D-DB10C23167F2}" destId="{976AAF58-02BA-4A83-9117-4177346BEECE}" srcOrd="0" destOrd="0" presId="urn:microsoft.com/office/officeart/2008/layout/HorizontalMultiLevelHierarchy"/>
    <dgm:cxn modelId="{BE3878D9-06AC-4D17-B29E-BE0A76849341}" type="presParOf" srcId="{1D2A6658-BD45-48E4-8F5F-5DFDA9C32EE6}" destId="{3BDC41D9-3A78-475F-97F7-2232D73803D4}" srcOrd="3" destOrd="0" presId="urn:microsoft.com/office/officeart/2008/layout/HorizontalMultiLevelHierarchy"/>
    <dgm:cxn modelId="{317960E7-A1B0-41CE-B6FD-48E8067167D1}" type="presParOf" srcId="{3BDC41D9-3A78-475F-97F7-2232D73803D4}" destId="{D71DB4A9-36E8-4390-A1BD-4007AC791BF8}" srcOrd="0" destOrd="0" presId="urn:microsoft.com/office/officeart/2008/layout/HorizontalMultiLevelHierarchy"/>
    <dgm:cxn modelId="{414DCCCB-BD07-44D3-A347-D096E66B9994}" type="presParOf" srcId="{3BDC41D9-3A78-475F-97F7-2232D73803D4}" destId="{91A3133B-437F-4062-AFC3-B494C0E3D709}" srcOrd="1" destOrd="0" presId="urn:microsoft.com/office/officeart/2008/layout/HorizontalMultiLevelHierarchy"/>
    <dgm:cxn modelId="{7E39CCD3-EF6D-4ADE-9426-965C7C9D818C}" type="presParOf" srcId="{70CE364E-100C-4598-9D18-E14E5B3139E0}" destId="{D864782E-E0C8-4912-BE81-BBC134058F6E}" srcOrd="2" destOrd="0" presId="urn:microsoft.com/office/officeart/2008/layout/HorizontalMultiLevelHierarchy"/>
    <dgm:cxn modelId="{54B9E9B3-DA10-4D8C-AEFD-952FAA056804}" type="presParOf" srcId="{D864782E-E0C8-4912-BE81-BBC134058F6E}" destId="{EC445E4A-BDAF-4F52-B9CD-BCA7757B25D4}" srcOrd="0" destOrd="0" presId="urn:microsoft.com/office/officeart/2008/layout/HorizontalMultiLevelHierarchy"/>
    <dgm:cxn modelId="{5904DB64-51FE-4350-8C35-51B2D7D380AD}" type="presParOf" srcId="{70CE364E-100C-4598-9D18-E14E5B3139E0}" destId="{D94EBFEF-9BBA-431E-BBF9-2014A550244D}" srcOrd="3" destOrd="0" presId="urn:microsoft.com/office/officeart/2008/layout/HorizontalMultiLevelHierarchy"/>
    <dgm:cxn modelId="{BA8A6D0E-7E8C-4C49-9A08-6116D56CC287}" type="presParOf" srcId="{D94EBFEF-9BBA-431E-BBF9-2014A550244D}" destId="{0756056B-EDAB-42D0-84C7-2CEB1CB71CF4}" srcOrd="0" destOrd="0" presId="urn:microsoft.com/office/officeart/2008/layout/HorizontalMultiLevelHierarchy"/>
    <dgm:cxn modelId="{C6225BB9-7FDA-4832-AE2E-841F02FAB92B}" type="presParOf" srcId="{D94EBFEF-9BBA-431E-BBF9-2014A550244D}" destId="{839AD6F7-D56F-4975-B287-BAEBA14AB77E}" srcOrd="1" destOrd="0" presId="urn:microsoft.com/office/officeart/2008/layout/HorizontalMultiLevelHierarchy"/>
    <dgm:cxn modelId="{25CF1157-A898-4F5E-837B-80FC080D1E7C}" type="presParOf" srcId="{839AD6F7-D56F-4975-B287-BAEBA14AB77E}" destId="{940FF0D5-3C57-404B-8113-05B69BA1A9D4}" srcOrd="0" destOrd="0" presId="urn:microsoft.com/office/officeart/2008/layout/HorizontalMultiLevelHierarchy"/>
    <dgm:cxn modelId="{D181F551-B3A8-4D2E-9195-678A8C3379F6}" type="presParOf" srcId="{940FF0D5-3C57-404B-8113-05B69BA1A9D4}" destId="{9DAAD9BE-DE0D-4845-BC00-2DE1435FCD00}" srcOrd="0" destOrd="0" presId="urn:microsoft.com/office/officeart/2008/layout/HorizontalMultiLevelHierarchy"/>
    <dgm:cxn modelId="{BE134DAA-AA88-4557-80A5-368FF34152D0}" type="presParOf" srcId="{839AD6F7-D56F-4975-B287-BAEBA14AB77E}" destId="{DB19090D-E7B5-4E74-B1F8-D19EDB770366}" srcOrd="1" destOrd="0" presId="urn:microsoft.com/office/officeart/2008/layout/HorizontalMultiLevelHierarchy"/>
    <dgm:cxn modelId="{C47E3EAE-5433-45CE-A978-FBA11AF478AD}" type="presParOf" srcId="{DB19090D-E7B5-4E74-B1F8-D19EDB770366}" destId="{CE39256C-2C1C-4A2E-8AB9-C90FF07AD830}" srcOrd="0" destOrd="0" presId="urn:microsoft.com/office/officeart/2008/layout/HorizontalMultiLevelHierarchy"/>
    <dgm:cxn modelId="{C25C1E93-B8F5-4501-9F5D-73D1ADC282A5}" type="presParOf" srcId="{DB19090D-E7B5-4E74-B1F8-D19EDB770366}" destId="{F473AB06-98AF-48A5-B917-E68E259C227E}" srcOrd="1" destOrd="0" presId="urn:microsoft.com/office/officeart/2008/layout/HorizontalMultiLevelHierarchy"/>
    <dgm:cxn modelId="{DDF5B8AD-F127-4209-B7D3-FED9984BF7F4}" type="presParOf" srcId="{70CE364E-100C-4598-9D18-E14E5B3139E0}" destId="{C5F5DB63-AAD2-44A7-81EE-CD2DAAEF1B7D}" srcOrd="4" destOrd="0" presId="urn:microsoft.com/office/officeart/2008/layout/HorizontalMultiLevelHierarchy"/>
    <dgm:cxn modelId="{0BF7F843-4626-4C1A-A7F3-83889B1C5BB9}" type="presParOf" srcId="{C5F5DB63-AAD2-44A7-81EE-CD2DAAEF1B7D}" destId="{6C789A22-5005-4ACC-B87A-E0636C16409C}" srcOrd="0" destOrd="0" presId="urn:microsoft.com/office/officeart/2008/layout/HorizontalMultiLevelHierarchy"/>
    <dgm:cxn modelId="{0438EBF9-050C-47CE-973E-5C47FB53C9B1}" type="presParOf" srcId="{70CE364E-100C-4598-9D18-E14E5B3139E0}" destId="{5104C5C9-50C7-4225-9410-5F4E862E9739}" srcOrd="5" destOrd="0" presId="urn:microsoft.com/office/officeart/2008/layout/HorizontalMultiLevelHierarchy"/>
    <dgm:cxn modelId="{EED99D05-A850-46D3-832C-6A9A50215EC0}" type="presParOf" srcId="{5104C5C9-50C7-4225-9410-5F4E862E9739}" destId="{95E1ABA7-D3F0-46BE-91EB-80F19608D429}" srcOrd="0" destOrd="0" presId="urn:microsoft.com/office/officeart/2008/layout/HorizontalMultiLevelHierarchy"/>
    <dgm:cxn modelId="{CE4B2356-9B79-4D51-A371-1A5ADF553BC2}" type="presParOf" srcId="{5104C5C9-50C7-4225-9410-5F4E862E9739}" destId="{06534D9C-0954-489C-985E-EBD6CBF8B248}" srcOrd="1" destOrd="0" presId="urn:microsoft.com/office/officeart/2008/layout/HorizontalMultiLevelHierarchy"/>
    <dgm:cxn modelId="{0709A321-D182-4E7B-A075-82AB2AA0D835}" type="presParOf" srcId="{06534D9C-0954-489C-985E-EBD6CBF8B248}" destId="{1C3CB20C-6F34-4FC2-A71C-96631C6F918B}" srcOrd="0" destOrd="0" presId="urn:microsoft.com/office/officeart/2008/layout/HorizontalMultiLevelHierarchy"/>
    <dgm:cxn modelId="{CA5E4099-BD9C-47E5-98A1-6D9C89168A7F}" type="presParOf" srcId="{1C3CB20C-6F34-4FC2-A71C-96631C6F918B}" destId="{A6F5DC4F-D572-410F-8EC3-54AF1B4984C0}" srcOrd="0" destOrd="0" presId="urn:microsoft.com/office/officeart/2008/layout/HorizontalMultiLevelHierarchy"/>
    <dgm:cxn modelId="{2ABDDDE7-C393-4B4C-89FA-3EC5E8B0C1E9}" type="presParOf" srcId="{06534D9C-0954-489C-985E-EBD6CBF8B248}" destId="{4CC2C43C-ECBB-4C42-9E69-12F795217EDD}" srcOrd="1" destOrd="0" presId="urn:microsoft.com/office/officeart/2008/layout/HorizontalMultiLevelHierarchy"/>
    <dgm:cxn modelId="{FEE2E495-01CF-4AB9-89F0-E27D8043224A}" type="presParOf" srcId="{4CC2C43C-ECBB-4C42-9E69-12F795217EDD}" destId="{1C230B10-2D2C-429A-95EF-4BB3D779EA16}" srcOrd="0" destOrd="0" presId="urn:microsoft.com/office/officeart/2008/layout/HorizontalMultiLevelHierarchy"/>
    <dgm:cxn modelId="{4592D400-00A9-44AA-9F73-2E1C6442AD2F}" type="presParOf" srcId="{4CC2C43C-ECBB-4C42-9E69-12F795217EDD}" destId="{6651415C-6448-452E-8583-1E608A90BF67}" srcOrd="1" destOrd="0" presId="urn:microsoft.com/office/officeart/2008/layout/HorizontalMultiLevelHierarchy"/>
    <dgm:cxn modelId="{644873AE-262B-4872-BFC6-B3C68A96F413}" type="presParOf" srcId="{06534D9C-0954-489C-985E-EBD6CBF8B248}" destId="{BD1551B0-8C86-482D-B191-529ECABF595D}" srcOrd="2" destOrd="0" presId="urn:microsoft.com/office/officeart/2008/layout/HorizontalMultiLevelHierarchy"/>
    <dgm:cxn modelId="{D8239522-19D3-4CEA-A03E-6265F8224460}" type="presParOf" srcId="{BD1551B0-8C86-482D-B191-529ECABF595D}" destId="{4605E42E-1E1D-4739-B2AA-2F7F9220D173}" srcOrd="0" destOrd="0" presId="urn:microsoft.com/office/officeart/2008/layout/HorizontalMultiLevelHierarchy"/>
    <dgm:cxn modelId="{EC27A0F3-BBA7-4FFB-AFFC-47B46F2D47D0}" type="presParOf" srcId="{06534D9C-0954-489C-985E-EBD6CBF8B248}" destId="{47F32B19-F2AF-449F-B326-155DEEB856AE}" srcOrd="3" destOrd="0" presId="urn:microsoft.com/office/officeart/2008/layout/HorizontalMultiLevelHierarchy"/>
    <dgm:cxn modelId="{FE3EF881-ED68-4CB1-B198-45D57C86960F}" type="presParOf" srcId="{47F32B19-F2AF-449F-B326-155DEEB856AE}" destId="{FF89077B-5AC9-4860-8AE4-7B235129910C}" srcOrd="0" destOrd="0" presId="urn:microsoft.com/office/officeart/2008/layout/HorizontalMultiLevelHierarchy"/>
    <dgm:cxn modelId="{D3C93367-2F97-450B-A141-F88F549FE169}" type="presParOf" srcId="{47F32B19-F2AF-449F-B326-155DEEB856AE}" destId="{82B094D4-F785-428D-838C-FE4E00D36B71}" srcOrd="1" destOrd="0" presId="urn:microsoft.com/office/officeart/2008/layout/HorizontalMultiLevelHierarchy"/>
    <dgm:cxn modelId="{388757E1-A1FE-4A0B-9CE3-0565B9D1EE2C}" type="presParOf" srcId="{06534D9C-0954-489C-985E-EBD6CBF8B248}" destId="{29040B46-E8B7-4BCD-81B6-428E6B945B5F}" srcOrd="4" destOrd="0" presId="urn:microsoft.com/office/officeart/2008/layout/HorizontalMultiLevelHierarchy"/>
    <dgm:cxn modelId="{DC068E93-7B35-4231-BF45-ACF4AE53BD83}" type="presParOf" srcId="{29040B46-E8B7-4BCD-81B6-428E6B945B5F}" destId="{E1802623-A414-439B-AD1B-CBAC1D07204F}" srcOrd="0" destOrd="0" presId="urn:microsoft.com/office/officeart/2008/layout/HorizontalMultiLevelHierarchy"/>
    <dgm:cxn modelId="{9BA1A89C-3622-4F99-B453-7C89923C0FDB}" type="presParOf" srcId="{06534D9C-0954-489C-985E-EBD6CBF8B248}" destId="{80FAC149-622C-4156-9EBD-7721D07D0040}" srcOrd="5" destOrd="0" presId="urn:microsoft.com/office/officeart/2008/layout/HorizontalMultiLevelHierarchy"/>
    <dgm:cxn modelId="{FDF72F50-EB97-4F74-8D34-36A2DDB3AD16}" type="presParOf" srcId="{80FAC149-622C-4156-9EBD-7721D07D0040}" destId="{4D1AAC64-12EF-4071-BEF7-00F3AAFFB41E}" srcOrd="0" destOrd="0" presId="urn:microsoft.com/office/officeart/2008/layout/HorizontalMultiLevelHierarchy"/>
    <dgm:cxn modelId="{F424B50F-9C0C-4A88-8DDD-DCB3E6A3FF65}" type="presParOf" srcId="{80FAC149-622C-4156-9EBD-7721D07D0040}" destId="{D62447B8-35C0-4A79-8A2D-D96C02A7DD96}" srcOrd="1" destOrd="0" presId="urn:microsoft.com/office/officeart/2008/layout/HorizontalMultiLevelHierarchy"/>
    <dgm:cxn modelId="{3F4D67E9-782D-42A7-A128-CA7C420622C8}" type="presParOf" srcId="{06534D9C-0954-489C-985E-EBD6CBF8B248}" destId="{B29FD42C-75AF-4C4E-86A5-907594EBA33D}" srcOrd="6" destOrd="0" presId="urn:microsoft.com/office/officeart/2008/layout/HorizontalMultiLevelHierarchy"/>
    <dgm:cxn modelId="{DED5356A-7AD9-4AAF-881F-6261029B822D}" type="presParOf" srcId="{B29FD42C-75AF-4C4E-86A5-907594EBA33D}" destId="{1F092491-C170-4410-A8F6-EDFFD09C492A}" srcOrd="0" destOrd="0" presId="urn:microsoft.com/office/officeart/2008/layout/HorizontalMultiLevelHierarchy"/>
    <dgm:cxn modelId="{4B74BBDA-8C23-4184-83E8-6F25195DA106}" type="presParOf" srcId="{06534D9C-0954-489C-985E-EBD6CBF8B248}" destId="{BB0BE300-908E-4242-B589-842E4E5CF28C}" srcOrd="7" destOrd="0" presId="urn:microsoft.com/office/officeart/2008/layout/HorizontalMultiLevelHierarchy"/>
    <dgm:cxn modelId="{3DEA1379-BCA3-4351-8B80-E2DD5A1B46A5}" type="presParOf" srcId="{BB0BE300-908E-4242-B589-842E4E5CF28C}" destId="{08F033FF-2B2F-45CB-BB5C-5B42F377C921}" srcOrd="0" destOrd="0" presId="urn:microsoft.com/office/officeart/2008/layout/HorizontalMultiLevelHierarchy"/>
    <dgm:cxn modelId="{0CB04049-6913-48B4-9147-4F037AA9515D}" type="presParOf" srcId="{BB0BE300-908E-4242-B589-842E4E5CF28C}" destId="{C8FE1E62-46C1-439F-935E-A8EFA0389E7B}" srcOrd="1" destOrd="0" presId="urn:microsoft.com/office/officeart/2008/layout/HorizontalMultiLevelHierarchy"/>
    <dgm:cxn modelId="{C6D26939-07E6-4888-920F-25875CB6FD14}" type="presParOf" srcId="{70CE364E-100C-4598-9D18-E14E5B3139E0}" destId="{7AAD3895-0F3F-490A-A670-A34BDD398382}" srcOrd="6" destOrd="0" presId="urn:microsoft.com/office/officeart/2008/layout/HorizontalMultiLevelHierarchy"/>
    <dgm:cxn modelId="{64313C98-F72B-4C95-AF9C-B2FA7ED36141}" type="presParOf" srcId="{7AAD3895-0F3F-490A-A670-A34BDD398382}" destId="{8648C321-0526-4FCB-9A68-78DA26F217F2}" srcOrd="0" destOrd="0" presId="urn:microsoft.com/office/officeart/2008/layout/HorizontalMultiLevelHierarchy"/>
    <dgm:cxn modelId="{BFB28AF2-17E7-4D98-8BC5-2E63F13E26B8}" type="presParOf" srcId="{70CE364E-100C-4598-9D18-E14E5B3139E0}" destId="{B7A422A9-9125-4831-BC78-BA8610D72A12}" srcOrd="7" destOrd="0" presId="urn:microsoft.com/office/officeart/2008/layout/HorizontalMultiLevelHierarchy"/>
    <dgm:cxn modelId="{0233355D-8D85-4D07-B1F5-056D4D26E976}" type="presParOf" srcId="{B7A422A9-9125-4831-BC78-BA8610D72A12}" destId="{A42FAF19-211A-494F-B890-27FCC44E31F3}" srcOrd="0" destOrd="0" presId="urn:microsoft.com/office/officeart/2008/layout/HorizontalMultiLevelHierarchy"/>
    <dgm:cxn modelId="{500343F8-12F8-4297-B71D-C9DA08B7065D}" type="presParOf" srcId="{B7A422A9-9125-4831-BC78-BA8610D72A12}" destId="{623F657E-0B28-4876-A4CC-213D640DBA9D}" srcOrd="1" destOrd="0" presId="urn:microsoft.com/office/officeart/2008/layout/HorizontalMultiLevelHierarchy"/>
    <dgm:cxn modelId="{CA0703B2-74DF-4932-B439-F36D1FA64956}" type="presParOf" srcId="{623F657E-0B28-4876-A4CC-213D640DBA9D}" destId="{4928FE66-4C82-491A-9FC5-3447046EEA67}" srcOrd="0" destOrd="0" presId="urn:microsoft.com/office/officeart/2008/layout/HorizontalMultiLevelHierarchy"/>
    <dgm:cxn modelId="{C90CB01B-E417-44D7-842E-128C96EE243E}" type="presParOf" srcId="{4928FE66-4C82-491A-9FC5-3447046EEA67}" destId="{5FC6D112-6F92-4632-9507-FF26300363B6}" srcOrd="0" destOrd="0" presId="urn:microsoft.com/office/officeart/2008/layout/HorizontalMultiLevelHierarchy"/>
    <dgm:cxn modelId="{34A8809E-F310-4EC4-A153-69B3892FA778}" type="presParOf" srcId="{623F657E-0B28-4876-A4CC-213D640DBA9D}" destId="{CBA11D80-3871-429E-B6EA-06C3D628C1F4}" srcOrd="1" destOrd="0" presId="urn:microsoft.com/office/officeart/2008/layout/HorizontalMultiLevelHierarchy"/>
    <dgm:cxn modelId="{C8533E00-A771-4BD6-BE9A-21AE88858813}" type="presParOf" srcId="{CBA11D80-3871-429E-B6EA-06C3D628C1F4}" destId="{1CF87F2E-ABFC-4E55-B68D-9172D8901194}" srcOrd="0" destOrd="0" presId="urn:microsoft.com/office/officeart/2008/layout/HorizontalMultiLevelHierarchy"/>
    <dgm:cxn modelId="{E5583985-1C82-4346-9B0F-BE60467FE355}" type="presParOf" srcId="{CBA11D80-3871-429E-B6EA-06C3D628C1F4}" destId="{0A7DC4DF-3707-4FCA-9EB0-CA3C0F4567ED}" srcOrd="1" destOrd="0" presId="urn:microsoft.com/office/officeart/2008/layout/HorizontalMultiLevelHierarchy"/>
    <dgm:cxn modelId="{D7F4428D-0F3D-4BB0-86AF-353AA8A91EF2}" type="presParOf" srcId="{623F657E-0B28-4876-A4CC-213D640DBA9D}" destId="{DA18321B-7C20-4513-AAD2-D4AD5E05017D}" srcOrd="2" destOrd="0" presId="urn:microsoft.com/office/officeart/2008/layout/HorizontalMultiLevelHierarchy"/>
    <dgm:cxn modelId="{D54F43D9-E862-4A1C-9F50-5A716A7F3886}" type="presParOf" srcId="{DA18321B-7C20-4513-AAD2-D4AD5E05017D}" destId="{9361A1A6-D4CA-4E8C-A75E-D8C718A9689E}" srcOrd="0" destOrd="0" presId="urn:microsoft.com/office/officeart/2008/layout/HorizontalMultiLevelHierarchy"/>
    <dgm:cxn modelId="{0915A8A1-7EBC-4E12-949E-BE083B4F82F5}" type="presParOf" srcId="{623F657E-0B28-4876-A4CC-213D640DBA9D}" destId="{0D564620-B024-4D00-B325-98FA45B7BDEE}" srcOrd="3" destOrd="0" presId="urn:microsoft.com/office/officeart/2008/layout/HorizontalMultiLevelHierarchy"/>
    <dgm:cxn modelId="{84206139-3A3A-4549-840B-25837E3E4415}" type="presParOf" srcId="{0D564620-B024-4D00-B325-98FA45B7BDEE}" destId="{B2179E82-4408-4AD9-B9D0-E9A7342A835A}" srcOrd="0" destOrd="0" presId="urn:microsoft.com/office/officeart/2008/layout/HorizontalMultiLevelHierarchy"/>
    <dgm:cxn modelId="{E0AD39BD-4E47-405C-BE5F-BD1DFC9868DB}" type="presParOf" srcId="{0D564620-B024-4D00-B325-98FA45B7BDEE}" destId="{16EB2C63-7B29-4CB0-B886-76C3825A9987}" srcOrd="1" destOrd="0" presId="urn:microsoft.com/office/officeart/2008/layout/HorizontalMultiLevelHierarchy"/>
    <dgm:cxn modelId="{0C1D0804-928A-43F3-9AD7-6B9A76771C9D}" type="presParOf" srcId="{70CE364E-100C-4598-9D18-E14E5B3139E0}" destId="{C8A2999F-E467-4C87-B764-FD504920E679}" srcOrd="8" destOrd="0" presId="urn:microsoft.com/office/officeart/2008/layout/HorizontalMultiLevelHierarchy"/>
    <dgm:cxn modelId="{2E31B9B8-01EC-4653-A6C0-309F5BD27D5E}" type="presParOf" srcId="{C8A2999F-E467-4C87-B764-FD504920E679}" destId="{A3A37C95-5B2E-4BFF-935C-3E42F8D1E1E1}" srcOrd="0" destOrd="0" presId="urn:microsoft.com/office/officeart/2008/layout/HorizontalMultiLevelHierarchy"/>
    <dgm:cxn modelId="{8FCCA14D-C77C-48E3-AEC5-6D1544778667}" type="presParOf" srcId="{70CE364E-100C-4598-9D18-E14E5B3139E0}" destId="{073C4B74-357D-405C-A156-8A6CA82F0EF5}" srcOrd="9" destOrd="0" presId="urn:microsoft.com/office/officeart/2008/layout/HorizontalMultiLevelHierarchy"/>
    <dgm:cxn modelId="{00771DEB-67B7-44B2-A456-5C83EB9E8300}" type="presParOf" srcId="{073C4B74-357D-405C-A156-8A6CA82F0EF5}" destId="{BFB384C6-3F40-4D90-84D7-656E9B77EB4D}" srcOrd="0" destOrd="0" presId="urn:microsoft.com/office/officeart/2008/layout/HorizontalMultiLevelHierarchy"/>
    <dgm:cxn modelId="{97E46EB3-C51E-4257-9A1F-57CCEDD4E47D}" type="presParOf" srcId="{073C4B74-357D-405C-A156-8A6CA82F0EF5}" destId="{333250A9-ACE2-47C9-8784-266FD3B73CE6}" srcOrd="1" destOrd="0" presId="urn:microsoft.com/office/officeart/2008/layout/HorizontalMultiLevelHierarchy"/>
    <dgm:cxn modelId="{05A308D2-C0D6-4654-B51C-11FF5FD031E8}" type="presParOf" srcId="{333250A9-ACE2-47C9-8784-266FD3B73CE6}" destId="{A7642B7F-E921-4D31-8C63-E629ADB69471}" srcOrd="0" destOrd="0" presId="urn:microsoft.com/office/officeart/2008/layout/HorizontalMultiLevelHierarchy"/>
    <dgm:cxn modelId="{E0E665A4-56A9-4CCD-B678-E92ACE63B447}" type="presParOf" srcId="{A7642B7F-E921-4D31-8C63-E629ADB69471}" destId="{201B2E97-52C3-4DC5-B685-F8E8B2966F9A}" srcOrd="0" destOrd="0" presId="urn:microsoft.com/office/officeart/2008/layout/HorizontalMultiLevelHierarchy"/>
    <dgm:cxn modelId="{6D55CDD4-BFE7-4A4D-9B7F-365508B48A94}" type="presParOf" srcId="{333250A9-ACE2-47C9-8784-266FD3B73CE6}" destId="{1EEEA251-572D-43B5-83BE-B1581455AD6A}" srcOrd="1" destOrd="0" presId="urn:microsoft.com/office/officeart/2008/layout/HorizontalMultiLevelHierarchy"/>
    <dgm:cxn modelId="{66B1534D-EA45-46F7-B93E-50812DBFA6BA}" type="presParOf" srcId="{1EEEA251-572D-43B5-83BE-B1581455AD6A}" destId="{56D07DED-961B-4719-9669-C1C50277EF5F}" srcOrd="0" destOrd="0" presId="urn:microsoft.com/office/officeart/2008/layout/HorizontalMultiLevelHierarchy"/>
    <dgm:cxn modelId="{0E30E3CE-EA1A-4D25-933A-6E1D664DC871}" type="presParOf" srcId="{1EEEA251-572D-43B5-83BE-B1581455AD6A}" destId="{AE797BF4-8A96-429C-B520-4605864DBA06}" srcOrd="1" destOrd="0" presId="urn:microsoft.com/office/officeart/2008/layout/HorizontalMultiLevelHierarchy"/>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E88B6A-E8C8-447B-A120-ABEB243ADEDC}">
      <dsp:nvSpPr>
        <dsp:cNvPr id="0" name=""/>
        <dsp:cNvSpPr/>
      </dsp:nvSpPr>
      <dsp:spPr>
        <a:xfrm>
          <a:off x="6773857" y="5515029"/>
          <a:ext cx="453420" cy="91440"/>
        </a:xfrm>
        <a:custGeom>
          <a:avLst/>
          <a:gdLst/>
          <a:ahLst/>
          <a:cxnLst/>
          <a:rect l="0" t="0" r="0" b="0"/>
          <a:pathLst>
            <a:path>
              <a:moveTo>
                <a:pt x="0" y="45720"/>
              </a:moveTo>
              <a:lnTo>
                <a:pt x="453420" y="45720"/>
              </a:lnTo>
            </a:path>
          </a:pathLst>
        </a:custGeom>
        <a:noFill/>
        <a:ln w="25400"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l" defTabSz="222250">
            <a:lnSpc>
              <a:spcPct val="90000"/>
            </a:lnSpc>
            <a:spcBef>
              <a:spcPct val="0"/>
            </a:spcBef>
            <a:spcAft>
              <a:spcPct val="35000"/>
            </a:spcAft>
            <a:buNone/>
          </a:pPr>
          <a:endParaRPr lang="en-US" sz="500" kern="1200">
            <a:solidFill>
              <a:srgbClr val="4A4A4A"/>
            </a:solidFill>
          </a:endParaRPr>
        </a:p>
      </dsp:txBody>
      <dsp:txXfrm>
        <a:off x="6989232" y="5549414"/>
        <a:ext cx="22671" cy="22671"/>
      </dsp:txXfrm>
    </dsp:sp>
    <dsp:sp modelId="{60F41317-B0B5-4B2C-ADAF-A4C1E474CD79}">
      <dsp:nvSpPr>
        <dsp:cNvPr id="0" name=""/>
        <dsp:cNvSpPr/>
      </dsp:nvSpPr>
      <dsp:spPr>
        <a:xfrm>
          <a:off x="3424051" y="5128755"/>
          <a:ext cx="453420" cy="431994"/>
        </a:xfrm>
        <a:custGeom>
          <a:avLst/>
          <a:gdLst/>
          <a:ahLst/>
          <a:cxnLst/>
          <a:rect l="0" t="0" r="0" b="0"/>
          <a:pathLst>
            <a:path>
              <a:moveTo>
                <a:pt x="0" y="0"/>
              </a:moveTo>
              <a:lnTo>
                <a:pt x="226710" y="0"/>
              </a:lnTo>
              <a:lnTo>
                <a:pt x="226710" y="431994"/>
              </a:lnTo>
              <a:lnTo>
                <a:pt x="453420" y="431994"/>
              </a:lnTo>
            </a:path>
          </a:pathLst>
        </a:custGeom>
        <a:noFill/>
        <a:ln w="25400"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l" defTabSz="222250">
            <a:lnSpc>
              <a:spcPct val="90000"/>
            </a:lnSpc>
            <a:spcBef>
              <a:spcPct val="0"/>
            </a:spcBef>
            <a:spcAft>
              <a:spcPct val="35000"/>
            </a:spcAft>
            <a:buNone/>
          </a:pPr>
          <a:endParaRPr lang="en-US" sz="500" kern="1200">
            <a:solidFill>
              <a:srgbClr val="4A4A4A"/>
            </a:solidFill>
          </a:endParaRPr>
        </a:p>
      </dsp:txBody>
      <dsp:txXfrm>
        <a:off x="3635105" y="5329096"/>
        <a:ext cx="31313" cy="31313"/>
      </dsp:txXfrm>
    </dsp:sp>
    <dsp:sp modelId="{6CDCFBEC-F44C-4309-9582-B72C00083829}">
      <dsp:nvSpPr>
        <dsp:cNvPr id="0" name=""/>
        <dsp:cNvSpPr/>
      </dsp:nvSpPr>
      <dsp:spPr>
        <a:xfrm>
          <a:off x="3424051" y="4696761"/>
          <a:ext cx="453420" cy="431994"/>
        </a:xfrm>
        <a:custGeom>
          <a:avLst/>
          <a:gdLst/>
          <a:ahLst/>
          <a:cxnLst/>
          <a:rect l="0" t="0" r="0" b="0"/>
          <a:pathLst>
            <a:path>
              <a:moveTo>
                <a:pt x="0" y="431994"/>
              </a:moveTo>
              <a:lnTo>
                <a:pt x="226710" y="431994"/>
              </a:lnTo>
              <a:lnTo>
                <a:pt x="226710" y="0"/>
              </a:lnTo>
              <a:lnTo>
                <a:pt x="453420" y="0"/>
              </a:lnTo>
            </a:path>
          </a:pathLst>
        </a:custGeom>
        <a:noFill/>
        <a:ln w="25400"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l" defTabSz="222250">
            <a:lnSpc>
              <a:spcPct val="90000"/>
            </a:lnSpc>
            <a:spcBef>
              <a:spcPct val="0"/>
            </a:spcBef>
            <a:spcAft>
              <a:spcPct val="35000"/>
            </a:spcAft>
            <a:buNone/>
          </a:pPr>
          <a:endParaRPr lang="en-US" sz="500" kern="1200">
            <a:solidFill>
              <a:srgbClr val="4A4A4A"/>
            </a:solidFill>
          </a:endParaRPr>
        </a:p>
      </dsp:txBody>
      <dsp:txXfrm>
        <a:off x="3635105" y="4897102"/>
        <a:ext cx="31313" cy="31313"/>
      </dsp:txXfrm>
    </dsp:sp>
    <dsp:sp modelId="{73FDB859-2B33-43C4-90D7-A993D293C474}">
      <dsp:nvSpPr>
        <dsp:cNvPr id="0" name=""/>
        <dsp:cNvSpPr/>
      </dsp:nvSpPr>
      <dsp:spPr>
        <a:xfrm>
          <a:off x="703525" y="3279729"/>
          <a:ext cx="453420" cy="1849026"/>
        </a:xfrm>
        <a:custGeom>
          <a:avLst/>
          <a:gdLst/>
          <a:ahLst/>
          <a:cxnLst/>
          <a:rect l="0" t="0" r="0" b="0"/>
          <a:pathLst>
            <a:path>
              <a:moveTo>
                <a:pt x="0" y="0"/>
              </a:moveTo>
              <a:lnTo>
                <a:pt x="226710" y="0"/>
              </a:lnTo>
              <a:lnTo>
                <a:pt x="226710" y="1849026"/>
              </a:lnTo>
              <a:lnTo>
                <a:pt x="453420" y="1849026"/>
              </a:lnTo>
            </a:path>
          </a:pathLst>
        </a:custGeom>
        <a:noFill/>
        <a:ln w="25400"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l" defTabSz="222250">
            <a:lnSpc>
              <a:spcPct val="90000"/>
            </a:lnSpc>
            <a:spcBef>
              <a:spcPct val="0"/>
            </a:spcBef>
            <a:spcAft>
              <a:spcPct val="35000"/>
            </a:spcAft>
            <a:buNone/>
          </a:pPr>
          <a:endParaRPr lang="en-US" sz="500" kern="1200">
            <a:solidFill>
              <a:srgbClr val="4A4A4A"/>
            </a:solidFill>
          </a:endParaRPr>
        </a:p>
      </dsp:txBody>
      <dsp:txXfrm>
        <a:off x="882640" y="4156647"/>
        <a:ext cx="95190" cy="95190"/>
      </dsp:txXfrm>
    </dsp:sp>
    <dsp:sp modelId="{1E3808DB-04B5-4AFD-B429-E33C19BED5B4}">
      <dsp:nvSpPr>
        <dsp:cNvPr id="0" name=""/>
        <dsp:cNvSpPr/>
      </dsp:nvSpPr>
      <dsp:spPr>
        <a:xfrm>
          <a:off x="3424051" y="3400779"/>
          <a:ext cx="453420" cy="431994"/>
        </a:xfrm>
        <a:custGeom>
          <a:avLst/>
          <a:gdLst/>
          <a:ahLst/>
          <a:cxnLst/>
          <a:rect l="0" t="0" r="0" b="0"/>
          <a:pathLst>
            <a:path>
              <a:moveTo>
                <a:pt x="0" y="0"/>
              </a:moveTo>
              <a:lnTo>
                <a:pt x="226710" y="0"/>
              </a:lnTo>
              <a:lnTo>
                <a:pt x="226710" y="431994"/>
              </a:lnTo>
              <a:lnTo>
                <a:pt x="453420" y="431994"/>
              </a:lnTo>
            </a:path>
          </a:pathLst>
        </a:custGeom>
        <a:noFill/>
        <a:ln w="25400"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l" defTabSz="222250">
            <a:lnSpc>
              <a:spcPct val="90000"/>
            </a:lnSpc>
            <a:spcBef>
              <a:spcPct val="0"/>
            </a:spcBef>
            <a:spcAft>
              <a:spcPct val="35000"/>
            </a:spcAft>
            <a:buNone/>
          </a:pPr>
          <a:endParaRPr lang="en-US" sz="500" kern="1200">
            <a:solidFill>
              <a:srgbClr val="4A4A4A"/>
            </a:solidFill>
          </a:endParaRPr>
        </a:p>
      </dsp:txBody>
      <dsp:txXfrm>
        <a:off x="3635105" y="3601119"/>
        <a:ext cx="31313" cy="31313"/>
      </dsp:txXfrm>
    </dsp:sp>
    <dsp:sp modelId="{44BF53D2-1254-400F-9916-97B2B4BEC4BF}">
      <dsp:nvSpPr>
        <dsp:cNvPr id="0" name=""/>
        <dsp:cNvSpPr/>
      </dsp:nvSpPr>
      <dsp:spPr>
        <a:xfrm>
          <a:off x="3424051" y="2968785"/>
          <a:ext cx="453420" cy="431994"/>
        </a:xfrm>
        <a:custGeom>
          <a:avLst/>
          <a:gdLst/>
          <a:ahLst/>
          <a:cxnLst/>
          <a:rect l="0" t="0" r="0" b="0"/>
          <a:pathLst>
            <a:path>
              <a:moveTo>
                <a:pt x="0" y="431994"/>
              </a:moveTo>
              <a:lnTo>
                <a:pt x="226710" y="431994"/>
              </a:lnTo>
              <a:lnTo>
                <a:pt x="226710" y="0"/>
              </a:lnTo>
              <a:lnTo>
                <a:pt x="453420" y="0"/>
              </a:lnTo>
            </a:path>
          </a:pathLst>
        </a:custGeom>
        <a:noFill/>
        <a:ln w="25400"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l" defTabSz="222250">
            <a:lnSpc>
              <a:spcPct val="90000"/>
            </a:lnSpc>
            <a:spcBef>
              <a:spcPct val="0"/>
            </a:spcBef>
            <a:spcAft>
              <a:spcPct val="35000"/>
            </a:spcAft>
            <a:buNone/>
          </a:pPr>
          <a:endParaRPr lang="en-US" sz="500" kern="1200">
            <a:solidFill>
              <a:srgbClr val="4A4A4A"/>
            </a:solidFill>
          </a:endParaRPr>
        </a:p>
      </dsp:txBody>
      <dsp:txXfrm>
        <a:off x="3635105" y="3169125"/>
        <a:ext cx="31313" cy="31313"/>
      </dsp:txXfrm>
    </dsp:sp>
    <dsp:sp modelId="{123517D4-D63B-4D8C-BDB8-DAF5BF91BE4C}">
      <dsp:nvSpPr>
        <dsp:cNvPr id="0" name=""/>
        <dsp:cNvSpPr/>
      </dsp:nvSpPr>
      <dsp:spPr>
        <a:xfrm>
          <a:off x="703525" y="3279729"/>
          <a:ext cx="453420" cy="121049"/>
        </a:xfrm>
        <a:custGeom>
          <a:avLst/>
          <a:gdLst/>
          <a:ahLst/>
          <a:cxnLst/>
          <a:rect l="0" t="0" r="0" b="0"/>
          <a:pathLst>
            <a:path>
              <a:moveTo>
                <a:pt x="0" y="0"/>
              </a:moveTo>
              <a:lnTo>
                <a:pt x="226710" y="0"/>
              </a:lnTo>
              <a:lnTo>
                <a:pt x="226710" y="121049"/>
              </a:lnTo>
              <a:lnTo>
                <a:pt x="453420" y="121049"/>
              </a:lnTo>
            </a:path>
          </a:pathLst>
        </a:custGeom>
        <a:noFill/>
        <a:ln w="25400"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l" defTabSz="222250">
            <a:lnSpc>
              <a:spcPct val="90000"/>
            </a:lnSpc>
            <a:spcBef>
              <a:spcPct val="0"/>
            </a:spcBef>
            <a:spcAft>
              <a:spcPct val="35000"/>
            </a:spcAft>
            <a:buNone/>
          </a:pPr>
          <a:endParaRPr lang="en-US" sz="500" kern="1200">
            <a:solidFill>
              <a:srgbClr val="4A4A4A"/>
            </a:solidFill>
          </a:endParaRPr>
        </a:p>
      </dsp:txBody>
      <dsp:txXfrm>
        <a:off x="918503" y="3328522"/>
        <a:ext cx="23465" cy="23465"/>
      </dsp:txXfrm>
    </dsp:sp>
    <dsp:sp modelId="{3CB4771E-5379-430C-84BA-471604991330}">
      <dsp:nvSpPr>
        <dsp:cNvPr id="0" name=""/>
        <dsp:cNvSpPr/>
      </dsp:nvSpPr>
      <dsp:spPr>
        <a:xfrm>
          <a:off x="3424051" y="1240809"/>
          <a:ext cx="453420" cy="863988"/>
        </a:xfrm>
        <a:custGeom>
          <a:avLst/>
          <a:gdLst/>
          <a:ahLst/>
          <a:cxnLst/>
          <a:rect l="0" t="0" r="0" b="0"/>
          <a:pathLst>
            <a:path>
              <a:moveTo>
                <a:pt x="0" y="0"/>
              </a:moveTo>
              <a:lnTo>
                <a:pt x="226710" y="0"/>
              </a:lnTo>
              <a:lnTo>
                <a:pt x="226710" y="863988"/>
              </a:lnTo>
              <a:lnTo>
                <a:pt x="453420" y="863988"/>
              </a:lnTo>
            </a:path>
          </a:pathLst>
        </a:custGeom>
        <a:noFill/>
        <a:ln w="25400"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l" defTabSz="222250">
            <a:lnSpc>
              <a:spcPct val="90000"/>
            </a:lnSpc>
            <a:spcBef>
              <a:spcPct val="0"/>
            </a:spcBef>
            <a:spcAft>
              <a:spcPct val="35000"/>
            </a:spcAft>
            <a:buNone/>
          </a:pPr>
          <a:endParaRPr lang="en-US" sz="500" kern="1200">
            <a:solidFill>
              <a:srgbClr val="4A4A4A"/>
            </a:solidFill>
          </a:endParaRPr>
        </a:p>
      </dsp:txBody>
      <dsp:txXfrm>
        <a:off x="3626368" y="1648409"/>
        <a:ext cx="48786" cy="48786"/>
      </dsp:txXfrm>
    </dsp:sp>
    <dsp:sp modelId="{E1A066DF-0EB6-4AAC-BB63-5C5C3BF486BF}">
      <dsp:nvSpPr>
        <dsp:cNvPr id="0" name=""/>
        <dsp:cNvSpPr/>
      </dsp:nvSpPr>
      <dsp:spPr>
        <a:xfrm>
          <a:off x="6144577" y="1195089"/>
          <a:ext cx="453420" cy="91440"/>
        </a:xfrm>
        <a:custGeom>
          <a:avLst/>
          <a:gdLst/>
          <a:ahLst/>
          <a:cxnLst/>
          <a:rect l="0" t="0" r="0" b="0"/>
          <a:pathLst>
            <a:path>
              <a:moveTo>
                <a:pt x="0" y="45720"/>
              </a:moveTo>
              <a:lnTo>
                <a:pt x="453420" y="45720"/>
              </a:lnTo>
            </a:path>
          </a:pathLst>
        </a:custGeom>
        <a:noFill/>
        <a:ln w="25400"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l" defTabSz="222250">
            <a:lnSpc>
              <a:spcPct val="90000"/>
            </a:lnSpc>
            <a:spcBef>
              <a:spcPct val="0"/>
            </a:spcBef>
            <a:spcAft>
              <a:spcPct val="35000"/>
            </a:spcAft>
            <a:buNone/>
          </a:pPr>
          <a:endParaRPr lang="en-US" sz="500" kern="1200">
            <a:solidFill>
              <a:srgbClr val="4A4A4A"/>
            </a:solidFill>
          </a:endParaRPr>
        </a:p>
      </dsp:txBody>
      <dsp:txXfrm>
        <a:off x="6359952" y="1229473"/>
        <a:ext cx="22671" cy="22671"/>
      </dsp:txXfrm>
    </dsp:sp>
    <dsp:sp modelId="{0939B604-B9EA-4896-AC3E-21F6666988A7}">
      <dsp:nvSpPr>
        <dsp:cNvPr id="0" name=""/>
        <dsp:cNvSpPr/>
      </dsp:nvSpPr>
      <dsp:spPr>
        <a:xfrm>
          <a:off x="3424051" y="1195089"/>
          <a:ext cx="453420" cy="91440"/>
        </a:xfrm>
        <a:custGeom>
          <a:avLst/>
          <a:gdLst/>
          <a:ahLst/>
          <a:cxnLst/>
          <a:rect l="0" t="0" r="0" b="0"/>
          <a:pathLst>
            <a:path>
              <a:moveTo>
                <a:pt x="0" y="45720"/>
              </a:moveTo>
              <a:lnTo>
                <a:pt x="453420" y="45720"/>
              </a:lnTo>
            </a:path>
          </a:pathLst>
        </a:custGeom>
        <a:noFill/>
        <a:ln w="25400"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l" defTabSz="222250">
            <a:lnSpc>
              <a:spcPct val="90000"/>
            </a:lnSpc>
            <a:spcBef>
              <a:spcPct val="0"/>
            </a:spcBef>
            <a:spcAft>
              <a:spcPct val="35000"/>
            </a:spcAft>
            <a:buNone/>
          </a:pPr>
          <a:endParaRPr lang="en-US" sz="500" kern="1200">
            <a:solidFill>
              <a:srgbClr val="4A4A4A"/>
            </a:solidFill>
          </a:endParaRPr>
        </a:p>
      </dsp:txBody>
      <dsp:txXfrm>
        <a:off x="3639426" y="1229473"/>
        <a:ext cx="22671" cy="22671"/>
      </dsp:txXfrm>
    </dsp:sp>
    <dsp:sp modelId="{9A267720-399B-4975-95B3-153606297D9F}">
      <dsp:nvSpPr>
        <dsp:cNvPr id="0" name=""/>
        <dsp:cNvSpPr/>
      </dsp:nvSpPr>
      <dsp:spPr>
        <a:xfrm>
          <a:off x="3424051" y="376821"/>
          <a:ext cx="453420" cy="863988"/>
        </a:xfrm>
        <a:custGeom>
          <a:avLst/>
          <a:gdLst/>
          <a:ahLst/>
          <a:cxnLst/>
          <a:rect l="0" t="0" r="0" b="0"/>
          <a:pathLst>
            <a:path>
              <a:moveTo>
                <a:pt x="0" y="863988"/>
              </a:moveTo>
              <a:lnTo>
                <a:pt x="226710" y="863988"/>
              </a:lnTo>
              <a:lnTo>
                <a:pt x="226710" y="0"/>
              </a:lnTo>
              <a:lnTo>
                <a:pt x="453420" y="0"/>
              </a:lnTo>
            </a:path>
          </a:pathLst>
        </a:custGeom>
        <a:noFill/>
        <a:ln w="25400"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l" defTabSz="222250">
            <a:lnSpc>
              <a:spcPct val="90000"/>
            </a:lnSpc>
            <a:spcBef>
              <a:spcPct val="0"/>
            </a:spcBef>
            <a:spcAft>
              <a:spcPct val="35000"/>
            </a:spcAft>
            <a:buNone/>
          </a:pPr>
          <a:endParaRPr lang="en-US" sz="500" kern="1200">
            <a:solidFill>
              <a:srgbClr val="4A4A4A"/>
            </a:solidFill>
          </a:endParaRPr>
        </a:p>
      </dsp:txBody>
      <dsp:txXfrm>
        <a:off x="3626368" y="784421"/>
        <a:ext cx="48786" cy="48786"/>
      </dsp:txXfrm>
    </dsp:sp>
    <dsp:sp modelId="{82F3627D-A3AF-4C7A-8221-284CCEF5310D}">
      <dsp:nvSpPr>
        <dsp:cNvPr id="0" name=""/>
        <dsp:cNvSpPr/>
      </dsp:nvSpPr>
      <dsp:spPr>
        <a:xfrm>
          <a:off x="703525" y="1240809"/>
          <a:ext cx="453420" cy="2038920"/>
        </a:xfrm>
        <a:custGeom>
          <a:avLst/>
          <a:gdLst/>
          <a:ahLst/>
          <a:cxnLst/>
          <a:rect l="0" t="0" r="0" b="0"/>
          <a:pathLst>
            <a:path>
              <a:moveTo>
                <a:pt x="0" y="2038920"/>
              </a:moveTo>
              <a:lnTo>
                <a:pt x="226710" y="2038920"/>
              </a:lnTo>
              <a:lnTo>
                <a:pt x="226710" y="0"/>
              </a:lnTo>
              <a:lnTo>
                <a:pt x="453420" y="0"/>
              </a:lnTo>
            </a:path>
          </a:pathLst>
        </a:custGeom>
        <a:noFill/>
        <a:ln w="25400"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l" defTabSz="222250">
            <a:lnSpc>
              <a:spcPct val="90000"/>
            </a:lnSpc>
            <a:spcBef>
              <a:spcPct val="0"/>
            </a:spcBef>
            <a:spcAft>
              <a:spcPct val="35000"/>
            </a:spcAft>
            <a:buNone/>
          </a:pPr>
          <a:endParaRPr lang="en-US" sz="500" kern="1200">
            <a:solidFill>
              <a:srgbClr val="4A4A4A"/>
            </a:solidFill>
          </a:endParaRPr>
        </a:p>
      </dsp:txBody>
      <dsp:txXfrm>
        <a:off x="878017" y="2208051"/>
        <a:ext cx="104436" cy="104436"/>
      </dsp:txXfrm>
    </dsp:sp>
    <dsp:sp modelId="{A1C70032-1CFC-400C-A010-3177820BD1C3}">
      <dsp:nvSpPr>
        <dsp:cNvPr id="0" name=""/>
        <dsp:cNvSpPr/>
      </dsp:nvSpPr>
      <dsp:spPr>
        <a:xfrm rot="16200000">
          <a:off x="-1460992" y="2934134"/>
          <a:ext cx="3637844" cy="691190"/>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u="none" strike="noStrike" kern="1200">
              <a:effectLst/>
            </a:rPr>
            <a:t>Slow Loading at FOT</a:t>
          </a:r>
          <a:endParaRPr lang="en-US" sz="1800" kern="1200" dirty="0"/>
        </a:p>
      </dsp:txBody>
      <dsp:txXfrm>
        <a:off x="-1460992" y="2934134"/>
        <a:ext cx="3637844" cy="691190"/>
      </dsp:txXfrm>
    </dsp:sp>
    <dsp:sp modelId="{8D8F26BC-DE82-41CA-BAB2-F26FA9CA9F86}">
      <dsp:nvSpPr>
        <dsp:cNvPr id="0" name=""/>
        <dsp:cNvSpPr/>
      </dsp:nvSpPr>
      <dsp:spPr>
        <a:xfrm>
          <a:off x="1156946" y="895213"/>
          <a:ext cx="2267104" cy="691190"/>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l" defTabSz="533400">
            <a:lnSpc>
              <a:spcPct val="90000"/>
            </a:lnSpc>
            <a:spcBef>
              <a:spcPct val="0"/>
            </a:spcBef>
            <a:spcAft>
              <a:spcPct val="35000"/>
            </a:spcAft>
            <a:buNone/>
          </a:pPr>
          <a:r>
            <a:rPr lang="en-US" sz="1200" u="none" strike="noStrike" kern="1200">
              <a:effectLst/>
            </a:rPr>
            <a:t>Loading on TCMS</a:t>
          </a:r>
          <a:endParaRPr lang="en-US" sz="1200" kern="1200" dirty="0"/>
        </a:p>
      </dsp:txBody>
      <dsp:txXfrm>
        <a:off x="1156946" y="895213"/>
        <a:ext cx="2267104" cy="691190"/>
      </dsp:txXfrm>
    </dsp:sp>
    <dsp:sp modelId="{5636877C-069D-4F6E-8906-0049408F7F60}">
      <dsp:nvSpPr>
        <dsp:cNvPr id="0" name=""/>
        <dsp:cNvSpPr/>
      </dsp:nvSpPr>
      <dsp:spPr>
        <a:xfrm>
          <a:off x="3877472" y="31225"/>
          <a:ext cx="2267104" cy="691190"/>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l" defTabSz="533400">
            <a:lnSpc>
              <a:spcPct val="90000"/>
            </a:lnSpc>
            <a:spcBef>
              <a:spcPct val="0"/>
            </a:spcBef>
            <a:spcAft>
              <a:spcPct val="35000"/>
            </a:spcAft>
            <a:buNone/>
          </a:pPr>
          <a:r>
            <a:rPr lang="en-US" sz="1200" u="none" strike="noStrike" kern="1200">
              <a:effectLst/>
            </a:rPr>
            <a:t>SBM2 was replaced by TCMS</a:t>
          </a:r>
          <a:endParaRPr lang="en-US" sz="1200" kern="1200" dirty="0"/>
        </a:p>
      </dsp:txBody>
      <dsp:txXfrm>
        <a:off x="3877472" y="31225"/>
        <a:ext cx="2267104" cy="691190"/>
      </dsp:txXfrm>
    </dsp:sp>
    <dsp:sp modelId="{DA5220FB-8E4F-496D-BC40-BCF964AB55F9}">
      <dsp:nvSpPr>
        <dsp:cNvPr id="0" name=""/>
        <dsp:cNvSpPr/>
      </dsp:nvSpPr>
      <dsp:spPr>
        <a:xfrm>
          <a:off x="3877472" y="895213"/>
          <a:ext cx="2267104" cy="691190"/>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l" defTabSz="533400">
            <a:lnSpc>
              <a:spcPct val="90000"/>
            </a:lnSpc>
            <a:spcBef>
              <a:spcPct val="0"/>
            </a:spcBef>
            <a:spcAft>
              <a:spcPct val="35000"/>
            </a:spcAft>
            <a:buNone/>
          </a:pPr>
          <a:r>
            <a:rPr lang="en-US" sz="1200" u="none" strike="noStrike" kern="1200">
              <a:effectLst/>
            </a:rPr>
            <a:t>TCMS was installed with design limitations</a:t>
          </a:r>
          <a:endParaRPr lang="en-US" sz="1200" kern="1200" dirty="0"/>
        </a:p>
      </dsp:txBody>
      <dsp:txXfrm>
        <a:off x="3877472" y="895213"/>
        <a:ext cx="2267104" cy="691190"/>
      </dsp:txXfrm>
    </dsp:sp>
    <dsp:sp modelId="{EB6B8FBC-FD1D-47A4-9C50-5D7830E4AB7C}">
      <dsp:nvSpPr>
        <dsp:cNvPr id="0" name=""/>
        <dsp:cNvSpPr/>
      </dsp:nvSpPr>
      <dsp:spPr>
        <a:xfrm>
          <a:off x="6597998" y="627322"/>
          <a:ext cx="4559510" cy="1226973"/>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l" defTabSz="533400">
            <a:lnSpc>
              <a:spcPct val="90000"/>
            </a:lnSpc>
            <a:spcBef>
              <a:spcPct val="0"/>
            </a:spcBef>
            <a:spcAft>
              <a:spcPct val="35000"/>
            </a:spcAft>
            <a:buNone/>
          </a:pPr>
          <a:r>
            <a:rPr lang="en-US" sz="1200" u="none" strike="noStrike" kern="1200" dirty="0">
              <a:effectLst/>
            </a:rPr>
            <a:t>Flow rate at 50% of Shore Max loading rates; Full parcel of 1million </a:t>
          </a:r>
          <a:r>
            <a:rPr lang="en-US" sz="1200" u="none" strike="noStrike" kern="1200" dirty="0" err="1">
              <a:effectLst/>
            </a:rPr>
            <a:t>bbls</a:t>
          </a:r>
          <a:r>
            <a:rPr lang="en-US" sz="1200" u="none" strike="noStrike" kern="1200" dirty="0">
              <a:effectLst/>
            </a:rPr>
            <a:t> will take circa 28hrs @ 35kbbls/</a:t>
          </a:r>
          <a:r>
            <a:rPr lang="en-US" sz="1200" u="none" strike="noStrike" kern="1200" dirty="0" err="1">
              <a:effectLst/>
            </a:rPr>
            <a:t>hr</a:t>
          </a:r>
          <a:br>
            <a:rPr lang="en-US" sz="1200" u="none" strike="noStrike" kern="1200" dirty="0">
              <a:effectLst/>
            </a:rPr>
          </a:br>
          <a:r>
            <a:rPr lang="en-US" sz="1200" u="none" strike="noStrike" kern="1200" dirty="0">
              <a:effectLst/>
            </a:rPr>
            <a:t>Loading at TCMS requires much calmer weather conditions than the SBM can withstand - offtake will be delayed or suspended if already in progress when weather conditions deteriorate.</a:t>
          </a:r>
          <a:endParaRPr lang="en-US" sz="1200" kern="1200" dirty="0"/>
        </a:p>
      </dsp:txBody>
      <dsp:txXfrm>
        <a:off x="6597998" y="627322"/>
        <a:ext cx="4559510" cy="1226973"/>
      </dsp:txXfrm>
    </dsp:sp>
    <dsp:sp modelId="{FCF1A4B9-F1AE-4A2D-9385-41C00FFBCB3C}">
      <dsp:nvSpPr>
        <dsp:cNvPr id="0" name=""/>
        <dsp:cNvSpPr/>
      </dsp:nvSpPr>
      <dsp:spPr>
        <a:xfrm>
          <a:off x="3877472" y="1759202"/>
          <a:ext cx="2267104" cy="691190"/>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l" defTabSz="533400">
            <a:lnSpc>
              <a:spcPct val="90000"/>
            </a:lnSpc>
            <a:spcBef>
              <a:spcPct val="0"/>
            </a:spcBef>
            <a:spcAft>
              <a:spcPct val="35000"/>
            </a:spcAft>
            <a:buNone/>
          </a:pPr>
          <a:r>
            <a:rPr lang="en-US" sz="1200" u="none" strike="noStrike" kern="1200">
              <a:effectLst/>
            </a:rPr>
            <a:t>SBM1 and accessories failure/repair</a:t>
          </a:r>
          <a:endParaRPr lang="en-US" sz="1200" kern="1200" dirty="0"/>
        </a:p>
      </dsp:txBody>
      <dsp:txXfrm>
        <a:off x="3877472" y="1759202"/>
        <a:ext cx="2267104" cy="691190"/>
      </dsp:txXfrm>
    </dsp:sp>
    <dsp:sp modelId="{BA47E97B-73A1-45C6-BE04-AE8F3070E79C}">
      <dsp:nvSpPr>
        <dsp:cNvPr id="0" name=""/>
        <dsp:cNvSpPr/>
      </dsp:nvSpPr>
      <dsp:spPr>
        <a:xfrm>
          <a:off x="1156946" y="3055184"/>
          <a:ext cx="2267104" cy="691190"/>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l" defTabSz="533400">
            <a:lnSpc>
              <a:spcPct val="90000"/>
            </a:lnSpc>
            <a:spcBef>
              <a:spcPct val="0"/>
            </a:spcBef>
            <a:spcAft>
              <a:spcPct val="35000"/>
            </a:spcAft>
            <a:buNone/>
          </a:pPr>
          <a:r>
            <a:rPr lang="en-US" sz="1200" u="none" strike="noStrike" kern="1200">
              <a:effectLst/>
            </a:rPr>
            <a:t>Loading from SBM1 with one floating hose or one subsea hose</a:t>
          </a:r>
          <a:endParaRPr lang="en-US" sz="1200" kern="1200" dirty="0"/>
        </a:p>
      </dsp:txBody>
      <dsp:txXfrm>
        <a:off x="1156946" y="3055184"/>
        <a:ext cx="2267104" cy="691190"/>
      </dsp:txXfrm>
    </dsp:sp>
    <dsp:sp modelId="{1F028F90-419F-4CEE-9E8E-315326816DB1}">
      <dsp:nvSpPr>
        <dsp:cNvPr id="0" name=""/>
        <dsp:cNvSpPr/>
      </dsp:nvSpPr>
      <dsp:spPr>
        <a:xfrm>
          <a:off x="3877472" y="2623190"/>
          <a:ext cx="2267104" cy="691190"/>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l" defTabSz="533400">
            <a:lnSpc>
              <a:spcPct val="90000"/>
            </a:lnSpc>
            <a:spcBef>
              <a:spcPct val="0"/>
            </a:spcBef>
            <a:spcAft>
              <a:spcPct val="35000"/>
            </a:spcAft>
            <a:buNone/>
          </a:pPr>
          <a:r>
            <a:rPr lang="en-US" sz="1200" u="none" strike="noStrike" kern="1200">
              <a:effectLst/>
            </a:rPr>
            <a:t>Floating Hose - Lacerations on sections of the floating hose string.</a:t>
          </a:r>
          <a:endParaRPr lang="en-US" sz="1200" kern="1200" dirty="0"/>
        </a:p>
      </dsp:txBody>
      <dsp:txXfrm>
        <a:off x="3877472" y="2623190"/>
        <a:ext cx="2267104" cy="691190"/>
      </dsp:txXfrm>
    </dsp:sp>
    <dsp:sp modelId="{5E9760B2-E2CF-4D51-AC1B-D5B8D704AC21}">
      <dsp:nvSpPr>
        <dsp:cNvPr id="0" name=""/>
        <dsp:cNvSpPr/>
      </dsp:nvSpPr>
      <dsp:spPr>
        <a:xfrm>
          <a:off x="3877472" y="3487178"/>
          <a:ext cx="2267104" cy="691190"/>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l" defTabSz="533400">
            <a:lnSpc>
              <a:spcPct val="90000"/>
            </a:lnSpc>
            <a:spcBef>
              <a:spcPct val="0"/>
            </a:spcBef>
            <a:spcAft>
              <a:spcPct val="35000"/>
            </a:spcAft>
            <a:buNone/>
          </a:pPr>
          <a:r>
            <a:rPr lang="en-US" sz="1200" u="none" strike="noStrike" kern="1200">
              <a:effectLst/>
            </a:rPr>
            <a:t>Subsea Hose failure- leak developed</a:t>
          </a:r>
          <a:endParaRPr lang="en-US" sz="1200" kern="1200" dirty="0"/>
        </a:p>
      </dsp:txBody>
      <dsp:txXfrm>
        <a:off x="3877472" y="3487178"/>
        <a:ext cx="2267104" cy="691190"/>
      </dsp:txXfrm>
    </dsp:sp>
    <dsp:sp modelId="{70815C2A-177C-4DFE-A2F0-A5B4ECE790E4}">
      <dsp:nvSpPr>
        <dsp:cNvPr id="0" name=""/>
        <dsp:cNvSpPr/>
      </dsp:nvSpPr>
      <dsp:spPr>
        <a:xfrm>
          <a:off x="1156946" y="4593266"/>
          <a:ext cx="2267104" cy="1070978"/>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l" defTabSz="533400">
            <a:lnSpc>
              <a:spcPct val="90000"/>
            </a:lnSpc>
            <a:spcBef>
              <a:spcPct val="0"/>
            </a:spcBef>
            <a:spcAft>
              <a:spcPct val="35000"/>
            </a:spcAft>
            <a:buNone/>
          </a:pPr>
          <a:r>
            <a:rPr lang="en-US" sz="1200" u="none" strike="noStrike" kern="1200">
              <a:effectLst/>
            </a:rPr>
            <a:t>FOT export flow constraints from onshore systems i.e. loading at rates below shore max.</a:t>
          </a:r>
          <a:endParaRPr lang="en-US" sz="1200" kern="1200" dirty="0"/>
        </a:p>
      </dsp:txBody>
      <dsp:txXfrm>
        <a:off x="1156946" y="4593266"/>
        <a:ext cx="2267104" cy="1070978"/>
      </dsp:txXfrm>
    </dsp:sp>
    <dsp:sp modelId="{1C0C0F71-F2BA-4E4E-BEE9-BC0F62246BA8}">
      <dsp:nvSpPr>
        <dsp:cNvPr id="0" name=""/>
        <dsp:cNvSpPr/>
      </dsp:nvSpPr>
      <dsp:spPr>
        <a:xfrm>
          <a:off x="3877472" y="4351166"/>
          <a:ext cx="2896385" cy="691190"/>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l" defTabSz="533400">
            <a:lnSpc>
              <a:spcPct val="90000"/>
            </a:lnSpc>
            <a:spcBef>
              <a:spcPct val="0"/>
            </a:spcBef>
            <a:spcAft>
              <a:spcPct val="35000"/>
            </a:spcAft>
            <a:buNone/>
          </a:pPr>
          <a:r>
            <a:rPr lang="en-US" sz="1200" u="none" strike="noStrike" kern="1200">
              <a:effectLst/>
            </a:rPr>
            <a:t>Equipment required for shore max:</a:t>
          </a:r>
          <a:br>
            <a:rPr lang="en-US" sz="1200" u="none" strike="noStrike" kern="1200">
              <a:effectLst/>
            </a:rPr>
          </a:br>
          <a:r>
            <a:rPr lang="en-US" sz="1200" u="none" strike="noStrike" kern="1200">
              <a:effectLst/>
            </a:rPr>
            <a:t>3 Power Turbines + 5 booster pumps + 4 Export pumps + 5 meter runs.</a:t>
          </a:r>
          <a:endParaRPr lang="en-US" sz="1200" kern="1200" dirty="0"/>
        </a:p>
      </dsp:txBody>
      <dsp:txXfrm>
        <a:off x="3877472" y="4351166"/>
        <a:ext cx="2896385" cy="691190"/>
      </dsp:txXfrm>
    </dsp:sp>
    <dsp:sp modelId="{382CAEC3-2E1C-4E8D-AAF8-359529BF89AE}">
      <dsp:nvSpPr>
        <dsp:cNvPr id="0" name=""/>
        <dsp:cNvSpPr/>
      </dsp:nvSpPr>
      <dsp:spPr>
        <a:xfrm>
          <a:off x="3877472" y="5215154"/>
          <a:ext cx="2896385" cy="691190"/>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l" defTabSz="533400">
            <a:lnSpc>
              <a:spcPct val="90000"/>
            </a:lnSpc>
            <a:spcBef>
              <a:spcPct val="0"/>
            </a:spcBef>
            <a:spcAft>
              <a:spcPct val="35000"/>
            </a:spcAft>
            <a:buNone/>
          </a:pPr>
          <a:r>
            <a:rPr lang="en-US" sz="1200" u="none" strike="noStrike" kern="1200">
              <a:effectLst/>
            </a:rPr>
            <a:t>Equipment Nos installed:</a:t>
          </a:r>
          <a:br>
            <a:rPr lang="en-US" sz="1200" u="none" strike="noStrike" kern="1200">
              <a:effectLst/>
            </a:rPr>
          </a:br>
          <a:r>
            <a:rPr lang="en-US" sz="1200" u="none" strike="noStrike" kern="1200">
              <a:effectLst/>
            </a:rPr>
            <a:t>6 Power Turbines + 5 booster pumps + 5 Export pumps + 6 meter runs</a:t>
          </a:r>
          <a:endParaRPr lang="en-US" sz="1200" kern="1200" dirty="0"/>
        </a:p>
      </dsp:txBody>
      <dsp:txXfrm>
        <a:off x="3877472" y="5215154"/>
        <a:ext cx="2896385" cy="691190"/>
      </dsp:txXfrm>
    </dsp:sp>
    <dsp:sp modelId="{74A98660-31F9-4DCA-8A0E-4D15B283CF98}">
      <dsp:nvSpPr>
        <dsp:cNvPr id="0" name=""/>
        <dsp:cNvSpPr/>
      </dsp:nvSpPr>
      <dsp:spPr>
        <a:xfrm>
          <a:off x="7227278" y="5215154"/>
          <a:ext cx="3524350" cy="691190"/>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l" defTabSz="533400">
            <a:lnSpc>
              <a:spcPct val="90000"/>
            </a:lnSpc>
            <a:spcBef>
              <a:spcPct val="0"/>
            </a:spcBef>
            <a:spcAft>
              <a:spcPct val="35000"/>
            </a:spcAft>
            <a:buNone/>
          </a:pPr>
          <a:r>
            <a:rPr lang="en-US" sz="1200" u="none" strike="noStrike" kern="1200">
              <a:effectLst/>
            </a:rPr>
            <a:t>4oo5 Export pumps available.</a:t>
          </a:r>
          <a:br>
            <a:rPr lang="en-US" sz="1200" u="none" strike="noStrike" kern="1200">
              <a:effectLst/>
            </a:rPr>
          </a:br>
          <a:r>
            <a:rPr lang="en-US" sz="1200" u="none" strike="noStrike" kern="1200">
              <a:effectLst/>
            </a:rPr>
            <a:t>Failure of any one of the available export pumps means FOT is unable to load at shore max.</a:t>
          </a:r>
          <a:endParaRPr lang="en-US" sz="1200" kern="1200" dirty="0"/>
        </a:p>
      </dsp:txBody>
      <dsp:txXfrm>
        <a:off x="7227278" y="5215154"/>
        <a:ext cx="3524350" cy="69119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BFD7F7-B4D2-42D2-BDA7-BACF81CB569F}">
      <dsp:nvSpPr>
        <dsp:cNvPr id="0" name=""/>
        <dsp:cNvSpPr/>
      </dsp:nvSpPr>
      <dsp:spPr>
        <a:xfrm>
          <a:off x="5770433" y="1529615"/>
          <a:ext cx="284209" cy="541557"/>
        </a:xfrm>
        <a:custGeom>
          <a:avLst/>
          <a:gdLst/>
          <a:ahLst/>
          <a:cxnLst/>
          <a:rect l="0" t="0" r="0" b="0"/>
          <a:pathLst>
            <a:path>
              <a:moveTo>
                <a:pt x="0" y="0"/>
              </a:moveTo>
              <a:lnTo>
                <a:pt x="142104" y="0"/>
              </a:lnTo>
              <a:lnTo>
                <a:pt x="142104" y="541557"/>
              </a:lnTo>
              <a:lnTo>
                <a:pt x="284209" y="541557"/>
              </a:lnTo>
            </a:path>
          </a:pathLst>
        </a:custGeom>
        <a:noFill/>
        <a:ln w="25400"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5897247" y="1785103"/>
        <a:ext cx="30580" cy="30580"/>
      </dsp:txXfrm>
    </dsp:sp>
    <dsp:sp modelId="{3EA69743-5B8C-4E15-B9F2-F4CE05005338}">
      <dsp:nvSpPr>
        <dsp:cNvPr id="0" name=""/>
        <dsp:cNvSpPr/>
      </dsp:nvSpPr>
      <dsp:spPr>
        <a:xfrm>
          <a:off x="5770433" y="1483895"/>
          <a:ext cx="284209" cy="91440"/>
        </a:xfrm>
        <a:custGeom>
          <a:avLst/>
          <a:gdLst/>
          <a:ahLst/>
          <a:cxnLst/>
          <a:rect l="0" t="0" r="0" b="0"/>
          <a:pathLst>
            <a:path>
              <a:moveTo>
                <a:pt x="0" y="45720"/>
              </a:moveTo>
              <a:lnTo>
                <a:pt x="284209" y="45720"/>
              </a:lnTo>
            </a:path>
          </a:pathLst>
        </a:custGeom>
        <a:noFill/>
        <a:ln w="25400"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5905432" y="1522509"/>
        <a:ext cx="14210" cy="14210"/>
      </dsp:txXfrm>
    </dsp:sp>
    <dsp:sp modelId="{273A64E4-2733-4169-89BA-12A43FE57B6F}">
      <dsp:nvSpPr>
        <dsp:cNvPr id="0" name=""/>
        <dsp:cNvSpPr/>
      </dsp:nvSpPr>
      <dsp:spPr>
        <a:xfrm>
          <a:off x="5770433" y="988057"/>
          <a:ext cx="284209" cy="541557"/>
        </a:xfrm>
        <a:custGeom>
          <a:avLst/>
          <a:gdLst/>
          <a:ahLst/>
          <a:cxnLst/>
          <a:rect l="0" t="0" r="0" b="0"/>
          <a:pathLst>
            <a:path>
              <a:moveTo>
                <a:pt x="0" y="541557"/>
              </a:moveTo>
              <a:lnTo>
                <a:pt x="142104" y="541557"/>
              </a:lnTo>
              <a:lnTo>
                <a:pt x="142104" y="0"/>
              </a:lnTo>
              <a:lnTo>
                <a:pt x="284209" y="0"/>
              </a:lnTo>
            </a:path>
          </a:pathLst>
        </a:custGeom>
        <a:noFill/>
        <a:ln w="25400"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5897247" y="1243545"/>
        <a:ext cx="30580" cy="30580"/>
      </dsp:txXfrm>
    </dsp:sp>
    <dsp:sp modelId="{B760740F-A13A-4E4E-8359-836BE1509DA4}">
      <dsp:nvSpPr>
        <dsp:cNvPr id="0" name=""/>
        <dsp:cNvSpPr/>
      </dsp:nvSpPr>
      <dsp:spPr>
        <a:xfrm>
          <a:off x="439159" y="1483894"/>
          <a:ext cx="284209" cy="91440"/>
        </a:xfrm>
        <a:custGeom>
          <a:avLst/>
          <a:gdLst/>
          <a:ahLst/>
          <a:cxnLst/>
          <a:rect l="0" t="0" r="0" b="0"/>
          <a:pathLst>
            <a:path>
              <a:moveTo>
                <a:pt x="0" y="45720"/>
              </a:moveTo>
              <a:lnTo>
                <a:pt x="284209" y="45720"/>
              </a:lnTo>
            </a:path>
          </a:pathLst>
        </a:custGeom>
        <a:noFill/>
        <a:ln w="25400"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574159" y="1522509"/>
        <a:ext cx="14210" cy="14210"/>
      </dsp:txXfrm>
    </dsp:sp>
    <dsp:sp modelId="{D3BB1FCC-09FA-4437-A170-51597D85A3C4}">
      <dsp:nvSpPr>
        <dsp:cNvPr id="0" name=""/>
        <dsp:cNvSpPr/>
      </dsp:nvSpPr>
      <dsp:spPr>
        <a:xfrm rot="16200000">
          <a:off x="-768787" y="1312991"/>
          <a:ext cx="1982648" cy="433246"/>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u="none" strike="noStrike" kern="1200" dirty="0">
              <a:effectLst/>
            </a:rPr>
            <a:t>FSBM1 Outage</a:t>
          </a:r>
          <a:endParaRPr lang="en-US" sz="1800" kern="1200" dirty="0"/>
        </a:p>
      </dsp:txBody>
      <dsp:txXfrm>
        <a:off x="-768787" y="1312991"/>
        <a:ext cx="1982648" cy="433246"/>
      </dsp:txXfrm>
    </dsp:sp>
    <dsp:sp modelId="{28439F13-0447-40B0-ABC0-F4B6BAFF497C}">
      <dsp:nvSpPr>
        <dsp:cNvPr id="0" name=""/>
        <dsp:cNvSpPr/>
      </dsp:nvSpPr>
      <dsp:spPr>
        <a:xfrm>
          <a:off x="723369" y="858334"/>
          <a:ext cx="5047064" cy="1342560"/>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u="none" strike="noStrike" kern="1200">
              <a:effectLst/>
            </a:rPr>
            <a:t>FSBM1 was past end of life and failed in service.</a:t>
          </a:r>
          <a:endParaRPr lang="en-US" sz="1400" kern="1200" dirty="0"/>
        </a:p>
      </dsp:txBody>
      <dsp:txXfrm>
        <a:off x="723369" y="858334"/>
        <a:ext cx="5047064" cy="1342560"/>
      </dsp:txXfrm>
    </dsp:sp>
    <dsp:sp modelId="{7A9A43E4-6F15-41B1-BE5F-71D24894185C}">
      <dsp:nvSpPr>
        <dsp:cNvPr id="0" name=""/>
        <dsp:cNvSpPr/>
      </dsp:nvSpPr>
      <dsp:spPr>
        <a:xfrm>
          <a:off x="6054642" y="771434"/>
          <a:ext cx="4643244" cy="433246"/>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u="none" strike="noStrike" kern="1200">
              <a:effectLst/>
            </a:rPr>
            <a:t>OEM recommended 7yrs of service.</a:t>
          </a:r>
          <a:endParaRPr lang="en-US" sz="1400" kern="1200" dirty="0"/>
        </a:p>
      </dsp:txBody>
      <dsp:txXfrm>
        <a:off x="6054642" y="771434"/>
        <a:ext cx="4643244" cy="433246"/>
      </dsp:txXfrm>
    </dsp:sp>
    <dsp:sp modelId="{29E49546-84CD-423E-871A-0018FD47A293}">
      <dsp:nvSpPr>
        <dsp:cNvPr id="0" name=""/>
        <dsp:cNvSpPr/>
      </dsp:nvSpPr>
      <dsp:spPr>
        <a:xfrm>
          <a:off x="6054642" y="1312991"/>
          <a:ext cx="4643244" cy="433246"/>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u="none" strike="noStrike" kern="1200">
              <a:effectLst/>
            </a:rPr>
            <a:t>Shell-RBI study outcome extended field service to 10yrs.</a:t>
          </a:r>
          <a:endParaRPr lang="en-US" sz="1400" b="0" i="0" u="none" strike="noStrike" kern="1200" dirty="0">
            <a:effectLst/>
            <a:latin typeface="+mn-lt"/>
          </a:endParaRPr>
        </a:p>
      </dsp:txBody>
      <dsp:txXfrm>
        <a:off x="6054642" y="1312991"/>
        <a:ext cx="4643244" cy="433246"/>
      </dsp:txXfrm>
    </dsp:sp>
    <dsp:sp modelId="{285DDC65-DBCC-4702-ABCB-74D1270C63AC}">
      <dsp:nvSpPr>
        <dsp:cNvPr id="0" name=""/>
        <dsp:cNvSpPr/>
      </dsp:nvSpPr>
      <dsp:spPr>
        <a:xfrm>
          <a:off x="6054642" y="1854549"/>
          <a:ext cx="4643244" cy="433246"/>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u="none" strike="noStrike" kern="1200">
              <a:effectLst/>
            </a:rPr>
            <a:t>FSBM1 was in service for &gt;12yrs.</a:t>
          </a:r>
          <a:endParaRPr lang="en-US" sz="1400" b="0" i="0" u="none" strike="noStrike" kern="1200" dirty="0">
            <a:effectLst/>
            <a:latin typeface="+mn-lt"/>
          </a:endParaRPr>
        </a:p>
      </dsp:txBody>
      <dsp:txXfrm>
        <a:off x="6054642" y="1854549"/>
        <a:ext cx="4643244" cy="43324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64A01A-4576-4D47-A1FC-9AA6612F23BC}">
      <dsp:nvSpPr>
        <dsp:cNvPr id="0" name=""/>
        <dsp:cNvSpPr/>
      </dsp:nvSpPr>
      <dsp:spPr>
        <a:xfrm>
          <a:off x="2619478" y="6040049"/>
          <a:ext cx="322818" cy="91440"/>
        </a:xfrm>
        <a:custGeom>
          <a:avLst/>
          <a:gdLst/>
          <a:ahLst/>
          <a:cxnLst/>
          <a:rect l="0" t="0" r="0" b="0"/>
          <a:pathLst>
            <a:path>
              <a:moveTo>
                <a:pt x="0" y="45720"/>
              </a:moveTo>
              <a:lnTo>
                <a:pt x="322818" y="4572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solidFill>
              <a:srgbClr val="4A4A4A"/>
            </a:solidFill>
          </a:endParaRPr>
        </a:p>
      </dsp:txBody>
      <dsp:txXfrm>
        <a:off x="2772817" y="6077698"/>
        <a:ext cx="16140" cy="16140"/>
      </dsp:txXfrm>
    </dsp:sp>
    <dsp:sp modelId="{A2A010F9-72C9-463A-9219-9F73C3936693}">
      <dsp:nvSpPr>
        <dsp:cNvPr id="0" name=""/>
        <dsp:cNvSpPr/>
      </dsp:nvSpPr>
      <dsp:spPr>
        <a:xfrm>
          <a:off x="682565" y="3321756"/>
          <a:ext cx="322818" cy="2764012"/>
        </a:xfrm>
        <a:custGeom>
          <a:avLst/>
          <a:gdLst/>
          <a:ahLst/>
          <a:cxnLst/>
          <a:rect l="0" t="0" r="0" b="0"/>
          <a:pathLst>
            <a:path>
              <a:moveTo>
                <a:pt x="0" y="0"/>
              </a:moveTo>
              <a:lnTo>
                <a:pt x="161409" y="0"/>
              </a:lnTo>
              <a:lnTo>
                <a:pt x="161409" y="2764012"/>
              </a:lnTo>
              <a:lnTo>
                <a:pt x="322818" y="276401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solidFill>
              <a:srgbClr val="4A4A4A"/>
            </a:solidFill>
          </a:endParaRPr>
        </a:p>
      </dsp:txBody>
      <dsp:txXfrm>
        <a:off x="774404" y="4634193"/>
        <a:ext cx="139140" cy="139140"/>
      </dsp:txXfrm>
    </dsp:sp>
    <dsp:sp modelId="{F080F4EC-EA06-4946-9B51-572374DFF990}">
      <dsp:nvSpPr>
        <dsp:cNvPr id="0" name=""/>
        <dsp:cNvSpPr/>
      </dsp:nvSpPr>
      <dsp:spPr>
        <a:xfrm>
          <a:off x="2619478" y="4855514"/>
          <a:ext cx="322818" cy="615127"/>
        </a:xfrm>
        <a:custGeom>
          <a:avLst/>
          <a:gdLst/>
          <a:ahLst/>
          <a:cxnLst/>
          <a:rect l="0" t="0" r="0" b="0"/>
          <a:pathLst>
            <a:path>
              <a:moveTo>
                <a:pt x="0" y="0"/>
              </a:moveTo>
              <a:lnTo>
                <a:pt x="161409" y="0"/>
              </a:lnTo>
              <a:lnTo>
                <a:pt x="161409" y="615127"/>
              </a:lnTo>
              <a:lnTo>
                <a:pt x="322818" y="61512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solidFill>
              <a:srgbClr val="4A4A4A"/>
            </a:solidFill>
          </a:endParaRPr>
        </a:p>
      </dsp:txBody>
      <dsp:txXfrm>
        <a:off x="2763520" y="5145710"/>
        <a:ext cx="34734" cy="34734"/>
      </dsp:txXfrm>
    </dsp:sp>
    <dsp:sp modelId="{0EB9CD40-D38A-4793-A1FF-3EC56EAED078}">
      <dsp:nvSpPr>
        <dsp:cNvPr id="0" name=""/>
        <dsp:cNvSpPr/>
      </dsp:nvSpPr>
      <dsp:spPr>
        <a:xfrm>
          <a:off x="6281019" y="4855514"/>
          <a:ext cx="322818" cy="615127"/>
        </a:xfrm>
        <a:custGeom>
          <a:avLst/>
          <a:gdLst/>
          <a:ahLst/>
          <a:cxnLst/>
          <a:rect l="0" t="0" r="0" b="0"/>
          <a:pathLst>
            <a:path>
              <a:moveTo>
                <a:pt x="0" y="0"/>
              </a:moveTo>
              <a:lnTo>
                <a:pt x="161409" y="0"/>
              </a:lnTo>
              <a:lnTo>
                <a:pt x="161409" y="615127"/>
              </a:lnTo>
              <a:lnTo>
                <a:pt x="322818" y="61512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solidFill>
              <a:srgbClr val="4A4A4A"/>
            </a:solidFill>
          </a:endParaRPr>
        </a:p>
      </dsp:txBody>
      <dsp:txXfrm>
        <a:off x="6425061" y="5145710"/>
        <a:ext cx="34734" cy="34734"/>
      </dsp:txXfrm>
    </dsp:sp>
    <dsp:sp modelId="{2701DC85-F3E5-4B63-9A30-7D2443C57A63}">
      <dsp:nvSpPr>
        <dsp:cNvPr id="0" name=""/>
        <dsp:cNvSpPr/>
      </dsp:nvSpPr>
      <dsp:spPr>
        <a:xfrm>
          <a:off x="6281019" y="4809794"/>
          <a:ext cx="322818" cy="91440"/>
        </a:xfrm>
        <a:custGeom>
          <a:avLst/>
          <a:gdLst/>
          <a:ahLst/>
          <a:cxnLst/>
          <a:rect l="0" t="0" r="0" b="0"/>
          <a:pathLst>
            <a:path>
              <a:moveTo>
                <a:pt x="0" y="45720"/>
              </a:moveTo>
              <a:lnTo>
                <a:pt x="322818" y="4572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solidFill>
              <a:srgbClr val="4A4A4A"/>
            </a:solidFill>
          </a:endParaRPr>
        </a:p>
      </dsp:txBody>
      <dsp:txXfrm>
        <a:off x="6434358" y="4847443"/>
        <a:ext cx="16140" cy="16140"/>
      </dsp:txXfrm>
    </dsp:sp>
    <dsp:sp modelId="{469408BB-2710-4F7D-95E1-9E2B7A45EE24}">
      <dsp:nvSpPr>
        <dsp:cNvPr id="0" name=""/>
        <dsp:cNvSpPr/>
      </dsp:nvSpPr>
      <dsp:spPr>
        <a:xfrm>
          <a:off x="6281019" y="4240386"/>
          <a:ext cx="322818" cy="615127"/>
        </a:xfrm>
        <a:custGeom>
          <a:avLst/>
          <a:gdLst/>
          <a:ahLst/>
          <a:cxnLst/>
          <a:rect l="0" t="0" r="0" b="0"/>
          <a:pathLst>
            <a:path>
              <a:moveTo>
                <a:pt x="0" y="615127"/>
              </a:moveTo>
              <a:lnTo>
                <a:pt x="161409" y="615127"/>
              </a:lnTo>
              <a:lnTo>
                <a:pt x="161409" y="0"/>
              </a:lnTo>
              <a:lnTo>
                <a:pt x="322818" y="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solidFill>
              <a:srgbClr val="4A4A4A"/>
            </a:solidFill>
          </a:endParaRPr>
        </a:p>
      </dsp:txBody>
      <dsp:txXfrm>
        <a:off x="6425061" y="4530583"/>
        <a:ext cx="34734" cy="34734"/>
      </dsp:txXfrm>
    </dsp:sp>
    <dsp:sp modelId="{31352B07-229A-428E-9A9A-0259373B006D}">
      <dsp:nvSpPr>
        <dsp:cNvPr id="0" name=""/>
        <dsp:cNvSpPr/>
      </dsp:nvSpPr>
      <dsp:spPr>
        <a:xfrm>
          <a:off x="2619478" y="4809794"/>
          <a:ext cx="322818" cy="91440"/>
        </a:xfrm>
        <a:custGeom>
          <a:avLst/>
          <a:gdLst/>
          <a:ahLst/>
          <a:cxnLst/>
          <a:rect l="0" t="0" r="0" b="0"/>
          <a:pathLst>
            <a:path>
              <a:moveTo>
                <a:pt x="0" y="45720"/>
              </a:moveTo>
              <a:lnTo>
                <a:pt x="322818" y="4572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solidFill>
              <a:srgbClr val="4A4A4A"/>
            </a:solidFill>
          </a:endParaRPr>
        </a:p>
      </dsp:txBody>
      <dsp:txXfrm>
        <a:off x="2772817" y="4847443"/>
        <a:ext cx="16140" cy="16140"/>
      </dsp:txXfrm>
    </dsp:sp>
    <dsp:sp modelId="{76A08ECA-2701-4D06-B562-2036D6FDC347}">
      <dsp:nvSpPr>
        <dsp:cNvPr id="0" name=""/>
        <dsp:cNvSpPr/>
      </dsp:nvSpPr>
      <dsp:spPr>
        <a:xfrm>
          <a:off x="2619478" y="4240386"/>
          <a:ext cx="322818" cy="615127"/>
        </a:xfrm>
        <a:custGeom>
          <a:avLst/>
          <a:gdLst/>
          <a:ahLst/>
          <a:cxnLst/>
          <a:rect l="0" t="0" r="0" b="0"/>
          <a:pathLst>
            <a:path>
              <a:moveTo>
                <a:pt x="0" y="615127"/>
              </a:moveTo>
              <a:lnTo>
                <a:pt x="161409" y="615127"/>
              </a:lnTo>
              <a:lnTo>
                <a:pt x="161409" y="0"/>
              </a:lnTo>
              <a:lnTo>
                <a:pt x="322818" y="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solidFill>
              <a:srgbClr val="4A4A4A"/>
            </a:solidFill>
          </a:endParaRPr>
        </a:p>
      </dsp:txBody>
      <dsp:txXfrm>
        <a:off x="2763520" y="4530583"/>
        <a:ext cx="34734" cy="34734"/>
      </dsp:txXfrm>
    </dsp:sp>
    <dsp:sp modelId="{51FD1F7F-2985-45FD-8DC7-6C51BC0BFB40}">
      <dsp:nvSpPr>
        <dsp:cNvPr id="0" name=""/>
        <dsp:cNvSpPr/>
      </dsp:nvSpPr>
      <dsp:spPr>
        <a:xfrm>
          <a:off x="682565" y="3321756"/>
          <a:ext cx="322818" cy="1533757"/>
        </a:xfrm>
        <a:custGeom>
          <a:avLst/>
          <a:gdLst/>
          <a:ahLst/>
          <a:cxnLst/>
          <a:rect l="0" t="0" r="0" b="0"/>
          <a:pathLst>
            <a:path>
              <a:moveTo>
                <a:pt x="0" y="0"/>
              </a:moveTo>
              <a:lnTo>
                <a:pt x="161409" y="0"/>
              </a:lnTo>
              <a:lnTo>
                <a:pt x="161409" y="1533757"/>
              </a:lnTo>
              <a:lnTo>
                <a:pt x="322818" y="153375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solidFill>
              <a:srgbClr val="4A4A4A"/>
            </a:solidFill>
          </a:endParaRPr>
        </a:p>
      </dsp:txBody>
      <dsp:txXfrm>
        <a:off x="804790" y="4049451"/>
        <a:ext cx="78368" cy="78368"/>
      </dsp:txXfrm>
    </dsp:sp>
    <dsp:sp modelId="{F5FE547B-35A9-4F67-A833-30B8B967EF0A}">
      <dsp:nvSpPr>
        <dsp:cNvPr id="0" name=""/>
        <dsp:cNvSpPr/>
      </dsp:nvSpPr>
      <dsp:spPr>
        <a:xfrm>
          <a:off x="2619478" y="3579539"/>
          <a:ext cx="322818" cy="91440"/>
        </a:xfrm>
        <a:custGeom>
          <a:avLst/>
          <a:gdLst/>
          <a:ahLst/>
          <a:cxnLst/>
          <a:rect l="0" t="0" r="0" b="0"/>
          <a:pathLst>
            <a:path>
              <a:moveTo>
                <a:pt x="0" y="45720"/>
              </a:moveTo>
              <a:lnTo>
                <a:pt x="322818" y="4572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solidFill>
              <a:srgbClr val="4A4A4A"/>
            </a:solidFill>
          </a:endParaRPr>
        </a:p>
      </dsp:txBody>
      <dsp:txXfrm>
        <a:off x="2772817" y="3617189"/>
        <a:ext cx="16140" cy="16140"/>
      </dsp:txXfrm>
    </dsp:sp>
    <dsp:sp modelId="{85646D21-05C6-4EEB-9174-89486A0AB004}">
      <dsp:nvSpPr>
        <dsp:cNvPr id="0" name=""/>
        <dsp:cNvSpPr/>
      </dsp:nvSpPr>
      <dsp:spPr>
        <a:xfrm>
          <a:off x="682565" y="3321756"/>
          <a:ext cx="322818" cy="303502"/>
        </a:xfrm>
        <a:custGeom>
          <a:avLst/>
          <a:gdLst/>
          <a:ahLst/>
          <a:cxnLst/>
          <a:rect l="0" t="0" r="0" b="0"/>
          <a:pathLst>
            <a:path>
              <a:moveTo>
                <a:pt x="0" y="0"/>
              </a:moveTo>
              <a:lnTo>
                <a:pt x="161409" y="0"/>
              </a:lnTo>
              <a:lnTo>
                <a:pt x="161409" y="303502"/>
              </a:lnTo>
              <a:lnTo>
                <a:pt x="322818" y="30350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solidFill>
              <a:srgbClr val="4A4A4A"/>
            </a:solidFill>
          </a:endParaRPr>
        </a:p>
      </dsp:txBody>
      <dsp:txXfrm>
        <a:off x="832897" y="3462431"/>
        <a:ext cx="22154" cy="22154"/>
      </dsp:txXfrm>
    </dsp:sp>
    <dsp:sp modelId="{A5C40D7D-AC2A-4546-92BA-69ADD088D6A2}">
      <dsp:nvSpPr>
        <dsp:cNvPr id="0" name=""/>
        <dsp:cNvSpPr/>
      </dsp:nvSpPr>
      <dsp:spPr>
        <a:xfrm>
          <a:off x="6281019" y="2964412"/>
          <a:ext cx="322818" cy="91440"/>
        </a:xfrm>
        <a:custGeom>
          <a:avLst/>
          <a:gdLst/>
          <a:ahLst/>
          <a:cxnLst/>
          <a:rect l="0" t="0" r="0" b="0"/>
          <a:pathLst>
            <a:path>
              <a:moveTo>
                <a:pt x="0" y="45720"/>
              </a:moveTo>
              <a:lnTo>
                <a:pt x="322818" y="4572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solidFill>
              <a:srgbClr val="4A4A4A"/>
            </a:solidFill>
          </a:endParaRPr>
        </a:p>
      </dsp:txBody>
      <dsp:txXfrm>
        <a:off x="6434358" y="3002061"/>
        <a:ext cx="16140" cy="16140"/>
      </dsp:txXfrm>
    </dsp:sp>
    <dsp:sp modelId="{F2457455-AAB0-4F29-A507-E0A963CAB068}">
      <dsp:nvSpPr>
        <dsp:cNvPr id="0" name=""/>
        <dsp:cNvSpPr/>
      </dsp:nvSpPr>
      <dsp:spPr>
        <a:xfrm>
          <a:off x="2619478" y="2964412"/>
          <a:ext cx="322818" cy="91440"/>
        </a:xfrm>
        <a:custGeom>
          <a:avLst/>
          <a:gdLst/>
          <a:ahLst/>
          <a:cxnLst/>
          <a:rect l="0" t="0" r="0" b="0"/>
          <a:pathLst>
            <a:path>
              <a:moveTo>
                <a:pt x="0" y="45720"/>
              </a:moveTo>
              <a:lnTo>
                <a:pt x="322818" y="4572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solidFill>
              <a:srgbClr val="4A4A4A"/>
            </a:solidFill>
          </a:endParaRPr>
        </a:p>
      </dsp:txBody>
      <dsp:txXfrm>
        <a:off x="2772817" y="3002061"/>
        <a:ext cx="16140" cy="16140"/>
      </dsp:txXfrm>
    </dsp:sp>
    <dsp:sp modelId="{685D5FB3-3D96-4673-BC66-7E0B1A449969}">
      <dsp:nvSpPr>
        <dsp:cNvPr id="0" name=""/>
        <dsp:cNvSpPr/>
      </dsp:nvSpPr>
      <dsp:spPr>
        <a:xfrm>
          <a:off x="682565" y="3010132"/>
          <a:ext cx="322818" cy="311624"/>
        </a:xfrm>
        <a:custGeom>
          <a:avLst/>
          <a:gdLst/>
          <a:ahLst/>
          <a:cxnLst/>
          <a:rect l="0" t="0" r="0" b="0"/>
          <a:pathLst>
            <a:path>
              <a:moveTo>
                <a:pt x="0" y="311624"/>
              </a:moveTo>
              <a:lnTo>
                <a:pt x="161409" y="311624"/>
              </a:lnTo>
              <a:lnTo>
                <a:pt x="161409" y="0"/>
              </a:lnTo>
              <a:lnTo>
                <a:pt x="322818"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solidFill>
              <a:srgbClr val="4A4A4A"/>
            </a:solidFill>
          </a:endParaRPr>
        </a:p>
      </dsp:txBody>
      <dsp:txXfrm>
        <a:off x="832757" y="3154727"/>
        <a:ext cx="22434" cy="22434"/>
      </dsp:txXfrm>
    </dsp:sp>
    <dsp:sp modelId="{39DBEBB3-55B3-42B2-867C-F17E2DA9C984}">
      <dsp:nvSpPr>
        <dsp:cNvPr id="0" name=""/>
        <dsp:cNvSpPr/>
      </dsp:nvSpPr>
      <dsp:spPr>
        <a:xfrm>
          <a:off x="2619478" y="1787999"/>
          <a:ext cx="322818" cy="307563"/>
        </a:xfrm>
        <a:custGeom>
          <a:avLst/>
          <a:gdLst/>
          <a:ahLst/>
          <a:cxnLst/>
          <a:rect l="0" t="0" r="0" b="0"/>
          <a:pathLst>
            <a:path>
              <a:moveTo>
                <a:pt x="0" y="0"/>
              </a:moveTo>
              <a:lnTo>
                <a:pt x="161409" y="0"/>
              </a:lnTo>
              <a:lnTo>
                <a:pt x="161409" y="307563"/>
              </a:lnTo>
              <a:lnTo>
                <a:pt x="322818" y="30756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solidFill>
              <a:srgbClr val="4A4A4A"/>
            </a:solidFill>
          </a:endParaRPr>
        </a:p>
      </dsp:txBody>
      <dsp:txXfrm>
        <a:off x="2769741" y="1930634"/>
        <a:ext cx="22293" cy="22293"/>
      </dsp:txXfrm>
    </dsp:sp>
    <dsp:sp modelId="{5B669DDC-91B2-42AB-91B5-AFAEED8C915A}">
      <dsp:nvSpPr>
        <dsp:cNvPr id="0" name=""/>
        <dsp:cNvSpPr/>
      </dsp:nvSpPr>
      <dsp:spPr>
        <a:xfrm>
          <a:off x="6281019" y="1434715"/>
          <a:ext cx="322818" cy="91440"/>
        </a:xfrm>
        <a:custGeom>
          <a:avLst/>
          <a:gdLst/>
          <a:ahLst/>
          <a:cxnLst/>
          <a:rect l="0" t="0" r="0" b="0"/>
          <a:pathLst>
            <a:path>
              <a:moveTo>
                <a:pt x="0" y="45720"/>
              </a:moveTo>
              <a:lnTo>
                <a:pt x="322818" y="4572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solidFill>
              <a:srgbClr val="4A4A4A"/>
            </a:solidFill>
          </a:endParaRPr>
        </a:p>
      </dsp:txBody>
      <dsp:txXfrm>
        <a:off x="6434358" y="1472365"/>
        <a:ext cx="16140" cy="16140"/>
      </dsp:txXfrm>
    </dsp:sp>
    <dsp:sp modelId="{C889F40F-93DD-4F14-9077-FD98F85ADDD4}">
      <dsp:nvSpPr>
        <dsp:cNvPr id="0" name=""/>
        <dsp:cNvSpPr/>
      </dsp:nvSpPr>
      <dsp:spPr>
        <a:xfrm>
          <a:off x="2619478" y="1480435"/>
          <a:ext cx="322818" cy="307563"/>
        </a:xfrm>
        <a:custGeom>
          <a:avLst/>
          <a:gdLst/>
          <a:ahLst/>
          <a:cxnLst/>
          <a:rect l="0" t="0" r="0" b="0"/>
          <a:pathLst>
            <a:path>
              <a:moveTo>
                <a:pt x="0" y="307563"/>
              </a:moveTo>
              <a:lnTo>
                <a:pt x="161409" y="307563"/>
              </a:lnTo>
              <a:lnTo>
                <a:pt x="161409" y="0"/>
              </a:lnTo>
              <a:lnTo>
                <a:pt x="322818" y="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solidFill>
              <a:srgbClr val="4A4A4A"/>
            </a:solidFill>
          </a:endParaRPr>
        </a:p>
      </dsp:txBody>
      <dsp:txXfrm>
        <a:off x="2769741" y="1623070"/>
        <a:ext cx="22293" cy="22293"/>
      </dsp:txXfrm>
    </dsp:sp>
    <dsp:sp modelId="{CB83E30A-8604-490A-933F-AB60ED907450}">
      <dsp:nvSpPr>
        <dsp:cNvPr id="0" name=""/>
        <dsp:cNvSpPr/>
      </dsp:nvSpPr>
      <dsp:spPr>
        <a:xfrm>
          <a:off x="682565" y="1787999"/>
          <a:ext cx="322818" cy="1533757"/>
        </a:xfrm>
        <a:custGeom>
          <a:avLst/>
          <a:gdLst/>
          <a:ahLst/>
          <a:cxnLst/>
          <a:rect l="0" t="0" r="0" b="0"/>
          <a:pathLst>
            <a:path>
              <a:moveTo>
                <a:pt x="0" y="1533757"/>
              </a:moveTo>
              <a:lnTo>
                <a:pt x="161409" y="1533757"/>
              </a:lnTo>
              <a:lnTo>
                <a:pt x="161409" y="0"/>
              </a:lnTo>
              <a:lnTo>
                <a:pt x="322818"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solidFill>
              <a:srgbClr val="4A4A4A"/>
            </a:solidFill>
          </a:endParaRPr>
        </a:p>
      </dsp:txBody>
      <dsp:txXfrm>
        <a:off x="804790" y="2515694"/>
        <a:ext cx="78368" cy="78368"/>
      </dsp:txXfrm>
    </dsp:sp>
    <dsp:sp modelId="{BEB33D27-711D-47D1-B255-44B8173A0947}">
      <dsp:nvSpPr>
        <dsp:cNvPr id="0" name=""/>
        <dsp:cNvSpPr/>
      </dsp:nvSpPr>
      <dsp:spPr>
        <a:xfrm>
          <a:off x="6281019" y="819588"/>
          <a:ext cx="322818" cy="91440"/>
        </a:xfrm>
        <a:custGeom>
          <a:avLst/>
          <a:gdLst/>
          <a:ahLst/>
          <a:cxnLst/>
          <a:rect l="0" t="0" r="0" b="0"/>
          <a:pathLst>
            <a:path>
              <a:moveTo>
                <a:pt x="0" y="45720"/>
              </a:moveTo>
              <a:lnTo>
                <a:pt x="322818" y="4572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solidFill>
              <a:srgbClr val="4A4A4A"/>
            </a:solidFill>
          </a:endParaRPr>
        </a:p>
      </dsp:txBody>
      <dsp:txXfrm>
        <a:off x="6434358" y="857237"/>
        <a:ext cx="16140" cy="16140"/>
      </dsp:txXfrm>
    </dsp:sp>
    <dsp:sp modelId="{EFED6919-8E77-41A8-B6CE-D9017F12B351}">
      <dsp:nvSpPr>
        <dsp:cNvPr id="0" name=""/>
        <dsp:cNvSpPr/>
      </dsp:nvSpPr>
      <dsp:spPr>
        <a:xfrm>
          <a:off x="2619478" y="557744"/>
          <a:ext cx="322818" cy="307563"/>
        </a:xfrm>
        <a:custGeom>
          <a:avLst/>
          <a:gdLst/>
          <a:ahLst/>
          <a:cxnLst/>
          <a:rect l="0" t="0" r="0" b="0"/>
          <a:pathLst>
            <a:path>
              <a:moveTo>
                <a:pt x="0" y="0"/>
              </a:moveTo>
              <a:lnTo>
                <a:pt x="161409" y="0"/>
              </a:lnTo>
              <a:lnTo>
                <a:pt x="161409" y="307563"/>
              </a:lnTo>
              <a:lnTo>
                <a:pt x="322818" y="30756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solidFill>
              <a:srgbClr val="4A4A4A"/>
            </a:solidFill>
          </a:endParaRPr>
        </a:p>
      </dsp:txBody>
      <dsp:txXfrm>
        <a:off x="2769741" y="700379"/>
        <a:ext cx="22293" cy="22293"/>
      </dsp:txXfrm>
    </dsp:sp>
    <dsp:sp modelId="{16E275CD-414B-4163-A587-1A1B467717BB}">
      <dsp:nvSpPr>
        <dsp:cNvPr id="0" name=""/>
        <dsp:cNvSpPr/>
      </dsp:nvSpPr>
      <dsp:spPr>
        <a:xfrm>
          <a:off x="2619478" y="250180"/>
          <a:ext cx="322818" cy="307563"/>
        </a:xfrm>
        <a:custGeom>
          <a:avLst/>
          <a:gdLst/>
          <a:ahLst/>
          <a:cxnLst/>
          <a:rect l="0" t="0" r="0" b="0"/>
          <a:pathLst>
            <a:path>
              <a:moveTo>
                <a:pt x="0" y="307563"/>
              </a:moveTo>
              <a:lnTo>
                <a:pt x="161409" y="307563"/>
              </a:lnTo>
              <a:lnTo>
                <a:pt x="161409" y="0"/>
              </a:lnTo>
              <a:lnTo>
                <a:pt x="322818" y="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solidFill>
              <a:srgbClr val="4A4A4A"/>
            </a:solidFill>
          </a:endParaRPr>
        </a:p>
      </dsp:txBody>
      <dsp:txXfrm>
        <a:off x="2769741" y="392815"/>
        <a:ext cx="22293" cy="22293"/>
      </dsp:txXfrm>
    </dsp:sp>
    <dsp:sp modelId="{B3D9707A-48A8-4657-BAA8-66893CC809F6}">
      <dsp:nvSpPr>
        <dsp:cNvPr id="0" name=""/>
        <dsp:cNvSpPr/>
      </dsp:nvSpPr>
      <dsp:spPr>
        <a:xfrm>
          <a:off x="682565" y="557744"/>
          <a:ext cx="322818" cy="2764012"/>
        </a:xfrm>
        <a:custGeom>
          <a:avLst/>
          <a:gdLst/>
          <a:ahLst/>
          <a:cxnLst/>
          <a:rect l="0" t="0" r="0" b="0"/>
          <a:pathLst>
            <a:path>
              <a:moveTo>
                <a:pt x="0" y="2764012"/>
              </a:moveTo>
              <a:lnTo>
                <a:pt x="161409" y="2764012"/>
              </a:lnTo>
              <a:lnTo>
                <a:pt x="161409" y="0"/>
              </a:lnTo>
              <a:lnTo>
                <a:pt x="322818"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solidFill>
              <a:srgbClr val="4A4A4A"/>
            </a:solidFill>
          </a:endParaRPr>
        </a:p>
      </dsp:txBody>
      <dsp:txXfrm>
        <a:off x="774404" y="1870180"/>
        <a:ext cx="139140" cy="139140"/>
      </dsp:txXfrm>
    </dsp:sp>
    <dsp:sp modelId="{876B423C-3190-4967-83DF-0604BBCB998D}">
      <dsp:nvSpPr>
        <dsp:cNvPr id="0" name=""/>
        <dsp:cNvSpPr/>
      </dsp:nvSpPr>
      <dsp:spPr>
        <a:xfrm rot="16200000">
          <a:off x="-858490" y="3075705"/>
          <a:ext cx="2590010" cy="49210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solidFill>
                <a:srgbClr val="4A4A4A"/>
              </a:solidFill>
            </a:rPr>
            <a:t>Awaiting Berthing</a:t>
          </a:r>
          <a:endParaRPr lang="en-US" sz="1800" kern="1200" dirty="0">
            <a:solidFill>
              <a:srgbClr val="4A4A4A"/>
            </a:solidFill>
          </a:endParaRPr>
        </a:p>
      </dsp:txBody>
      <dsp:txXfrm>
        <a:off x="-858490" y="3075705"/>
        <a:ext cx="2590010" cy="492101"/>
      </dsp:txXfrm>
    </dsp:sp>
    <dsp:sp modelId="{69642ACC-D964-4F75-86FA-1356887F7480}">
      <dsp:nvSpPr>
        <dsp:cNvPr id="0" name=""/>
        <dsp:cNvSpPr/>
      </dsp:nvSpPr>
      <dsp:spPr>
        <a:xfrm>
          <a:off x="1005384" y="311693"/>
          <a:ext cx="1614094" cy="49210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a:solidFill>
                <a:srgbClr val="4A4A4A"/>
              </a:solidFill>
            </a:rPr>
            <a:t>Grommet entanglement</a:t>
          </a:r>
          <a:endParaRPr lang="en-US" sz="1000" kern="1200" dirty="0">
            <a:solidFill>
              <a:srgbClr val="4A4A4A"/>
            </a:solidFill>
          </a:endParaRPr>
        </a:p>
      </dsp:txBody>
      <dsp:txXfrm>
        <a:off x="1005384" y="311693"/>
        <a:ext cx="1614094" cy="492101"/>
      </dsp:txXfrm>
    </dsp:sp>
    <dsp:sp modelId="{A9058AEE-7BCF-443F-92DC-1ECF49ECE324}">
      <dsp:nvSpPr>
        <dsp:cNvPr id="0" name=""/>
        <dsp:cNvSpPr/>
      </dsp:nvSpPr>
      <dsp:spPr>
        <a:xfrm>
          <a:off x="2942297" y="4129"/>
          <a:ext cx="3338721" cy="49210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a:solidFill>
                <a:srgbClr val="4A4A4A"/>
              </a:solidFill>
            </a:rPr>
            <a:t>Adverse weather condition/wave action</a:t>
          </a:r>
          <a:endParaRPr lang="en-US" sz="1000" kern="1200" dirty="0">
            <a:solidFill>
              <a:srgbClr val="4A4A4A"/>
            </a:solidFill>
          </a:endParaRPr>
        </a:p>
      </dsp:txBody>
      <dsp:txXfrm>
        <a:off x="2942297" y="4129"/>
        <a:ext cx="3338721" cy="492101"/>
      </dsp:txXfrm>
    </dsp:sp>
    <dsp:sp modelId="{6F79B5D2-7E4A-4D3A-BA2C-D1B1993566FF}">
      <dsp:nvSpPr>
        <dsp:cNvPr id="0" name=""/>
        <dsp:cNvSpPr/>
      </dsp:nvSpPr>
      <dsp:spPr>
        <a:xfrm>
          <a:off x="2942297" y="619257"/>
          <a:ext cx="3338721" cy="49210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a:solidFill>
                <a:srgbClr val="4A4A4A"/>
              </a:solidFill>
            </a:rPr>
            <a:t>Line handling during mooring ops</a:t>
          </a:r>
          <a:endParaRPr lang="en-US" sz="1000" kern="1200" dirty="0">
            <a:solidFill>
              <a:srgbClr val="4A4A4A"/>
            </a:solidFill>
          </a:endParaRPr>
        </a:p>
      </dsp:txBody>
      <dsp:txXfrm>
        <a:off x="2942297" y="619257"/>
        <a:ext cx="3338721" cy="492101"/>
      </dsp:txXfrm>
    </dsp:sp>
    <dsp:sp modelId="{C80EA913-51F2-4187-8F5B-DA6782CC91A5}">
      <dsp:nvSpPr>
        <dsp:cNvPr id="0" name=""/>
        <dsp:cNvSpPr/>
      </dsp:nvSpPr>
      <dsp:spPr>
        <a:xfrm>
          <a:off x="6603838" y="619257"/>
          <a:ext cx="5015895" cy="49210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a:solidFill>
                <a:srgbClr val="4A4A4A"/>
              </a:solidFill>
            </a:rPr>
            <a:t>Limited experience/capability of vessel captain.</a:t>
          </a:r>
          <a:endParaRPr lang="en-US" sz="1000" kern="1200" dirty="0">
            <a:solidFill>
              <a:srgbClr val="4A4A4A"/>
            </a:solidFill>
          </a:endParaRPr>
        </a:p>
      </dsp:txBody>
      <dsp:txXfrm>
        <a:off x="6603838" y="619257"/>
        <a:ext cx="5015895" cy="492101"/>
      </dsp:txXfrm>
    </dsp:sp>
    <dsp:sp modelId="{8EF28210-AB49-4103-91CA-E75047331787}">
      <dsp:nvSpPr>
        <dsp:cNvPr id="0" name=""/>
        <dsp:cNvSpPr/>
      </dsp:nvSpPr>
      <dsp:spPr>
        <a:xfrm>
          <a:off x="1005384" y="1541948"/>
          <a:ext cx="1614094" cy="49210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a:solidFill>
                <a:srgbClr val="4A4A4A"/>
              </a:solidFill>
            </a:rPr>
            <a:t>Support vessels propellers getting entangled with hawser</a:t>
          </a:r>
          <a:endParaRPr lang="en-US" sz="1000" kern="1200" dirty="0">
            <a:solidFill>
              <a:srgbClr val="4A4A4A"/>
            </a:solidFill>
          </a:endParaRPr>
        </a:p>
      </dsp:txBody>
      <dsp:txXfrm>
        <a:off x="1005384" y="1541948"/>
        <a:ext cx="1614094" cy="492101"/>
      </dsp:txXfrm>
    </dsp:sp>
    <dsp:sp modelId="{6063A79A-50F6-4A86-89E4-0D24D890CA06}">
      <dsp:nvSpPr>
        <dsp:cNvPr id="0" name=""/>
        <dsp:cNvSpPr/>
      </dsp:nvSpPr>
      <dsp:spPr>
        <a:xfrm>
          <a:off x="2942297" y="1234384"/>
          <a:ext cx="3338721" cy="49210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a:solidFill>
                <a:srgbClr val="4A4A4A"/>
              </a:solidFill>
            </a:rPr>
            <a:t>Human error during mooring ops</a:t>
          </a:r>
          <a:endParaRPr lang="en-US" sz="1000" kern="1200" dirty="0">
            <a:solidFill>
              <a:srgbClr val="4A4A4A"/>
            </a:solidFill>
          </a:endParaRPr>
        </a:p>
      </dsp:txBody>
      <dsp:txXfrm>
        <a:off x="2942297" y="1234384"/>
        <a:ext cx="3338721" cy="492101"/>
      </dsp:txXfrm>
    </dsp:sp>
    <dsp:sp modelId="{C1C55A0C-0EB3-436A-8CB3-AF608DC0D1B1}">
      <dsp:nvSpPr>
        <dsp:cNvPr id="0" name=""/>
        <dsp:cNvSpPr/>
      </dsp:nvSpPr>
      <dsp:spPr>
        <a:xfrm>
          <a:off x="6603838" y="1234384"/>
          <a:ext cx="5015895" cy="49210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a:solidFill>
                <a:srgbClr val="4A4A4A"/>
              </a:solidFill>
            </a:rPr>
            <a:t>Limited experience/capability of vessel captain.</a:t>
          </a:r>
          <a:endParaRPr lang="en-US" sz="1000" kern="1200" dirty="0">
            <a:solidFill>
              <a:srgbClr val="4A4A4A"/>
            </a:solidFill>
          </a:endParaRPr>
        </a:p>
      </dsp:txBody>
      <dsp:txXfrm>
        <a:off x="6603838" y="1234384"/>
        <a:ext cx="5015895" cy="492101"/>
      </dsp:txXfrm>
    </dsp:sp>
    <dsp:sp modelId="{EE5A1DDC-B5C8-46F5-813F-6EFB2D5D1857}">
      <dsp:nvSpPr>
        <dsp:cNvPr id="0" name=""/>
        <dsp:cNvSpPr/>
      </dsp:nvSpPr>
      <dsp:spPr>
        <a:xfrm>
          <a:off x="2942297" y="1849512"/>
          <a:ext cx="3338721" cy="49210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a:solidFill>
                <a:srgbClr val="4A4A4A"/>
              </a:solidFill>
            </a:rPr>
            <a:t>Adverse weather condition.</a:t>
          </a:r>
          <a:endParaRPr lang="en-US" sz="1000" kern="1200" dirty="0">
            <a:solidFill>
              <a:srgbClr val="4A4A4A"/>
            </a:solidFill>
          </a:endParaRPr>
        </a:p>
      </dsp:txBody>
      <dsp:txXfrm>
        <a:off x="2942297" y="1849512"/>
        <a:ext cx="3338721" cy="492101"/>
      </dsp:txXfrm>
    </dsp:sp>
    <dsp:sp modelId="{8F016FB7-B854-400F-ABEF-7F507BEC17AA}">
      <dsp:nvSpPr>
        <dsp:cNvPr id="0" name=""/>
        <dsp:cNvSpPr/>
      </dsp:nvSpPr>
      <dsp:spPr>
        <a:xfrm>
          <a:off x="1005384" y="2764081"/>
          <a:ext cx="1614094" cy="49210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a:solidFill>
                <a:srgbClr val="4A4A4A"/>
              </a:solidFill>
            </a:rPr>
            <a:t>Delayed Tanker Inward clearance.</a:t>
          </a:r>
          <a:endParaRPr lang="en-US" sz="1000" kern="1200" dirty="0">
            <a:solidFill>
              <a:srgbClr val="4A4A4A"/>
            </a:solidFill>
          </a:endParaRPr>
        </a:p>
      </dsp:txBody>
      <dsp:txXfrm>
        <a:off x="1005384" y="2764081"/>
        <a:ext cx="1614094" cy="492101"/>
      </dsp:txXfrm>
    </dsp:sp>
    <dsp:sp modelId="{C60FFC55-416F-4F71-82BF-98E6E75B44E5}">
      <dsp:nvSpPr>
        <dsp:cNvPr id="0" name=""/>
        <dsp:cNvSpPr/>
      </dsp:nvSpPr>
      <dsp:spPr>
        <a:xfrm>
          <a:off x="2942297" y="2764081"/>
          <a:ext cx="3338721" cy="49210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a:solidFill>
                <a:srgbClr val="4A4A4A"/>
              </a:solidFill>
            </a:rPr>
            <a:t>Unavailability of PC to convey officials to embark/disembark vessel.</a:t>
          </a:r>
          <a:endParaRPr lang="en-US" sz="1000" kern="1200" dirty="0">
            <a:solidFill>
              <a:srgbClr val="4A4A4A"/>
            </a:solidFill>
          </a:endParaRPr>
        </a:p>
      </dsp:txBody>
      <dsp:txXfrm>
        <a:off x="2942297" y="2764081"/>
        <a:ext cx="3338721" cy="492101"/>
      </dsp:txXfrm>
    </dsp:sp>
    <dsp:sp modelId="{78FA5704-01FF-4272-82D4-31E6E52FBE84}">
      <dsp:nvSpPr>
        <dsp:cNvPr id="0" name=""/>
        <dsp:cNvSpPr/>
      </dsp:nvSpPr>
      <dsp:spPr>
        <a:xfrm>
          <a:off x="6603838" y="2464639"/>
          <a:ext cx="5015895" cy="109098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a:solidFill>
                <a:srgbClr val="4A4A4A"/>
              </a:solidFill>
            </a:rPr>
            <a:t>Activities requiring PC movement is subject to arduous scheduling with little flexibility.</a:t>
          </a:r>
        </a:p>
        <a:p>
          <a:pPr marL="0" lvl="0" indent="0" algn="ctr" defTabSz="444500">
            <a:lnSpc>
              <a:spcPct val="90000"/>
            </a:lnSpc>
            <a:spcBef>
              <a:spcPct val="0"/>
            </a:spcBef>
            <a:spcAft>
              <a:spcPct val="35000"/>
            </a:spcAft>
            <a:buNone/>
          </a:pPr>
          <a:r>
            <a:rPr lang="en-US" sz="1000" kern="1200">
              <a:solidFill>
                <a:srgbClr val="4A4A4A"/>
              </a:solidFill>
            </a:rPr>
            <a:t>When the sole PC is reassigned to other activities based on prioritization, this has resulted in delayed disembarking of officials with resultant delay in tanker inward clearance.</a:t>
          </a:r>
          <a:endParaRPr lang="en-US" sz="1000" kern="1200" dirty="0">
            <a:solidFill>
              <a:srgbClr val="4A4A4A"/>
            </a:solidFill>
          </a:endParaRPr>
        </a:p>
      </dsp:txBody>
      <dsp:txXfrm>
        <a:off x="6603838" y="2464639"/>
        <a:ext cx="5015895" cy="1090985"/>
      </dsp:txXfrm>
    </dsp:sp>
    <dsp:sp modelId="{A4DE185A-BB51-4E89-B082-DF109C0EDBE6}">
      <dsp:nvSpPr>
        <dsp:cNvPr id="0" name=""/>
        <dsp:cNvSpPr/>
      </dsp:nvSpPr>
      <dsp:spPr>
        <a:xfrm>
          <a:off x="1005384" y="3379208"/>
          <a:ext cx="1614094" cy="49210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a:solidFill>
                <a:srgbClr val="4A4A4A"/>
              </a:solidFill>
            </a:rPr>
            <a:t>Adverse weather</a:t>
          </a:r>
          <a:endParaRPr lang="en-US" sz="1000" kern="1200" dirty="0">
            <a:solidFill>
              <a:srgbClr val="4A4A4A"/>
            </a:solidFill>
          </a:endParaRPr>
        </a:p>
      </dsp:txBody>
      <dsp:txXfrm>
        <a:off x="1005384" y="3379208"/>
        <a:ext cx="1614094" cy="492101"/>
      </dsp:txXfrm>
    </dsp:sp>
    <dsp:sp modelId="{7BC0D74C-0A0B-41F1-BCFC-4658F7775DA5}">
      <dsp:nvSpPr>
        <dsp:cNvPr id="0" name=""/>
        <dsp:cNvSpPr/>
      </dsp:nvSpPr>
      <dsp:spPr>
        <a:xfrm>
          <a:off x="2942297" y="3379208"/>
          <a:ext cx="3338721" cy="49210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a:solidFill>
                <a:srgbClr val="4A4A4A"/>
              </a:solidFill>
            </a:rPr>
            <a:t>Unable to berth on TCMS or SBM during adverse weather conditions beyond permissible limits</a:t>
          </a:r>
          <a:endParaRPr lang="en-US" sz="1000" kern="1200" dirty="0">
            <a:solidFill>
              <a:srgbClr val="4A4A4A"/>
            </a:solidFill>
          </a:endParaRPr>
        </a:p>
      </dsp:txBody>
      <dsp:txXfrm>
        <a:off x="2942297" y="3379208"/>
        <a:ext cx="3338721" cy="492101"/>
      </dsp:txXfrm>
    </dsp:sp>
    <dsp:sp modelId="{5B7BA061-F2AF-4778-9B0A-DFF22F815B76}">
      <dsp:nvSpPr>
        <dsp:cNvPr id="0" name=""/>
        <dsp:cNvSpPr/>
      </dsp:nvSpPr>
      <dsp:spPr>
        <a:xfrm>
          <a:off x="1005384" y="4609463"/>
          <a:ext cx="1614094" cy="49210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a:solidFill>
                <a:srgbClr val="4A4A4A"/>
              </a:solidFill>
            </a:rPr>
            <a:t>Daylight Constraints</a:t>
          </a:r>
          <a:endParaRPr lang="en-US" sz="1000" kern="1200" dirty="0">
            <a:solidFill>
              <a:srgbClr val="4A4A4A"/>
            </a:solidFill>
          </a:endParaRPr>
        </a:p>
      </dsp:txBody>
      <dsp:txXfrm>
        <a:off x="1005384" y="4609463"/>
        <a:ext cx="1614094" cy="492101"/>
      </dsp:txXfrm>
    </dsp:sp>
    <dsp:sp modelId="{95E94648-C953-42A4-B330-74379F76D814}">
      <dsp:nvSpPr>
        <dsp:cNvPr id="0" name=""/>
        <dsp:cNvSpPr/>
      </dsp:nvSpPr>
      <dsp:spPr>
        <a:xfrm>
          <a:off x="2942297" y="3994335"/>
          <a:ext cx="3338721" cy="49210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a:solidFill>
                <a:srgbClr val="4A4A4A"/>
              </a:solidFill>
            </a:rPr>
            <a:t>Terminals are set up contractually as 24hr. Ship can tender Notice of Readiness at any time within the laycan.</a:t>
          </a:r>
          <a:endParaRPr lang="en-US" sz="1000" kern="1200" dirty="0">
            <a:solidFill>
              <a:srgbClr val="4A4A4A"/>
            </a:solidFill>
          </a:endParaRPr>
        </a:p>
      </dsp:txBody>
      <dsp:txXfrm>
        <a:off x="2942297" y="3994335"/>
        <a:ext cx="3338721" cy="492101"/>
      </dsp:txXfrm>
    </dsp:sp>
    <dsp:sp modelId="{75D45F4B-8920-4823-8070-5F894B45206D}">
      <dsp:nvSpPr>
        <dsp:cNvPr id="0" name=""/>
        <dsp:cNvSpPr/>
      </dsp:nvSpPr>
      <dsp:spPr>
        <a:xfrm>
          <a:off x="2942297" y="4609463"/>
          <a:ext cx="3338721" cy="49210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a:solidFill>
                <a:srgbClr val="4A4A4A"/>
              </a:solidFill>
            </a:rPr>
            <a:t>Vessels are limited to daylight sailing.</a:t>
          </a:r>
          <a:endParaRPr lang="en-US" sz="1000" kern="1200" dirty="0">
            <a:solidFill>
              <a:srgbClr val="4A4A4A"/>
            </a:solidFill>
          </a:endParaRPr>
        </a:p>
      </dsp:txBody>
      <dsp:txXfrm>
        <a:off x="2942297" y="4609463"/>
        <a:ext cx="3338721" cy="492101"/>
      </dsp:txXfrm>
    </dsp:sp>
    <dsp:sp modelId="{BBF87EFD-83B7-4137-848E-C8F3B667FF85}">
      <dsp:nvSpPr>
        <dsp:cNvPr id="0" name=""/>
        <dsp:cNvSpPr/>
      </dsp:nvSpPr>
      <dsp:spPr>
        <a:xfrm>
          <a:off x="6603838" y="3994335"/>
          <a:ext cx="5015895" cy="49210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u="none" strike="noStrike" kern="1200">
              <a:solidFill>
                <a:srgbClr val="4A4A4A"/>
              </a:solidFill>
              <a:effectLst/>
            </a:rPr>
            <a:t>Security concerns for night sailing.</a:t>
          </a:r>
          <a:endParaRPr lang="en-US" sz="1000" kern="1200" dirty="0">
            <a:solidFill>
              <a:srgbClr val="4A4A4A"/>
            </a:solidFill>
          </a:endParaRPr>
        </a:p>
      </dsp:txBody>
      <dsp:txXfrm>
        <a:off x="6603838" y="3994335"/>
        <a:ext cx="5015895" cy="492101"/>
      </dsp:txXfrm>
    </dsp:sp>
    <dsp:sp modelId="{D491C935-11FD-40C5-B1C4-4BBD6FAA4953}">
      <dsp:nvSpPr>
        <dsp:cNvPr id="0" name=""/>
        <dsp:cNvSpPr/>
      </dsp:nvSpPr>
      <dsp:spPr>
        <a:xfrm>
          <a:off x="6603838" y="4609463"/>
          <a:ext cx="5015895" cy="492101"/>
        </a:xfrm>
        <a:prstGeom prst="rect">
          <a:avLst/>
        </a:prstGeom>
        <a:solidFill>
          <a:srgbClr val="336094"/>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u="none" strike="noStrike" kern="1200" dirty="0">
              <a:solidFill>
                <a:srgbClr val="FFFFFF"/>
              </a:solidFill>
              <a:effectLst/>
            </a:rPr>
            <a:t>FOT: River channel is unlit - absence buoys indicating the safe waters for vessels to prevent running aground. E.g. Presence of shipwreck in river channel</a:t>
          </a:r>
          <a:endParaRPr lang="en-US" sz="1000" kern="1200" dirty="0">
            <a:solidFill>
              <a:srgbClr val="FFFFFF"/>
            </a:solidFill>
          </a:endParaRPr>
        </a:p>
      </dsp:txBody>
      <dsp:txXfrm>
        <a:off x="6603838" y="4609463"/>
        <a:ext cx="5015895" cy="492101"/>
      </dsp:txXfrm>
    </dsp:sp>
    <dsp:sp modelId="{8A4D6683-8932-4287-9C32-790D9CEC73AE}">
      <dsp:nvSpPr>
        <dsp:cNvPr id="0" name=""/>
        <dsp:cNvSpPr/>
      </dsp:nvSpPr>
      <dsp:spPr>
        <a:xfrm>
          <a:off x="6603838" y="5224590"/>
          <a:ext cx="5015895" cy="492101"/>
        </a:xfrm>
        <a:prstGeom prst="rect">
          <a:avLst/>
        </a:prstGeom>
        <a:solidFill>
          <a:srgbClr val="33609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u="none" strike="noStrike" kern="1200" dirty="0">
              <a:solidFill>
                <a:srgbClr val="FFFFFF"/>
              </a:solidFill>
              <a:effectLst/>
            </a:rPr>
            <a:t>FOT: Fouling of the propellers by fishing nets; Fishing activities.</a:t>
          </a:r>
          <a:endParaRPr lang="en-US" sz="1000" kern="1200" dirty="0">
            <a:solidFill>
              <a:srgbClr val="FFFFFF"/>
            </a:solidFill>
          </a:endParaRPr>
        </a:p>
      </dsp:txBody>
      <dsp:txXfrm>
        <a:off x="6603838" y="5224590"/>
        <a:ext cx="5015895" cy="492101"/>
      </dsp:txXfrm>
    </dsp:sp>
    <dsp:sp modelId="{C4CD4FF9-2447-4D5D-9C01-9FD2942E01EA}">
      <dsp:nvSpPr>
        <dsp:cNvPr id="0" name=""/>
        <dsp:cNvSpPr/>
      </dsp:nvSpPr>
      <dsp:spPr>
        <a:xfrm>
          <a:off x="2942297" y="5224590"/>
          <a:ext cx="3338721" cy="492101"/>
        </a:xfrm>
        <a:prstGeom prst="rect">
          <a:avLst/>
        </a:prstGeom>
        <a:solidFill>
          <a:srgbClr val="743A1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rgbClr val="FFFFFF"/>
              </a:solidFill>
            </a:rPr>
            <a:t>BOGT - GOs -Port Health, NDLEA- reside outside the terminal and are available in the day only.</a:t>
          </a:r>
        </a:p>
      </dsp:txBody>
      <dsp:txXfrm>
        <a:off x="2942297" y="5224590"/>
        <a:ext cx="3338721" cy="492101"/>
      </dsp:txXfrm>
    </dsp:sp>
    <dsp:sp modelId="{965CC56C-3A11-4A77-89EA-60722CD5EE89}">
      <dsp:nvSpPr>
        <dsp:cNvPr id="0" name=""/>
        <dsp:cNvSpPr/>
      </dsp:nvSpPr>
      <dsp:spPr>
        <a:xfrm>
          <a:off x="1005384" y="5839718"/>
          <a:ext cx="1614094" cy="49210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a:solidFill>
                <a:srgbClr val="4A4A4A"/>
              </a:solidFill>
            </a:rPr>
            <a:t>Berth occupied</a:t>
          </a:r>
          <a:endParaRPr lang="en-US" sz="1000" kern="1200" dirty="0">
            <a:solidFill>
              <a:srgbClr val="4A4A4A"/>
            </a:solidFill>
          </a:endParaRPr>
        </a:p>
      </dsp:txBody>
      <dsp:txXfrm>
        <a:off x="1005384" y="5839718"/>
        <a:ext cx="1614094" cy="492101"/>
      </dsp:txXfrm>
    </dsp:sp>
    <dsp:sp modelId="{9E66E106-CF3F-42C7-AD27-8B7CBB1A7013}">
      <dsp:nvSpPr>
        <dsp:cNvPr id="0" name=""/>
        <dsp:cNvSpPr/>
      </dsp:nvSpPr>
      <dsp:spPr>
        <a:xfrm>
          <a:off x="2942297" y="5839718"/>
          <a:ext cx="3338721" cy="49210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a:solidFill>
                <a:srgbClr val="4A4A4A"/>
              </a:solidFill>
            </a:rPr>
            <a:t>Disruption of tanker schedule for all other previous causes.</a:t>
          </a:r>
          <a:br>
            <a:rPr lang="en-US" sz="800" kern="1200">
              <a:solidFill>
                <a:srgbClr val="4A4A4A"/>
              </a:solidFill>
            </a:rPr>
          </a:br>
          <a:r>
            <a:rPr lang="en-US" sz="800" kern="1200">
              <a:solidFill>
                <a:srgbClr val="4A4A4A"/>
              </a:solidFill>
            </a:rPr>
            <a:t>Delay in concluding preceeding tanker's export documentation after offtake- experienced more with some NUPRC officials.</a:t>
          </a:r>
          <a:endParaRPr lang="en-US" sz="800" kern="1200" dirty="0">
            <a:solidFill>
              <a:srgbClr val="4A4A4A"/>
            </a:solidFill>
          </a:endParaRPr>
        </a:p>
      </dsp:txBody>
      <dsp:txXfrm>
        <a:off x="2942297" y="5839718"/>
        <a:ext cx="3338721" cy="49210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642B7F-E921-4D31-8C63-E629ADB69471}">
      <dsp:nvSpPr>
        <dsp:cNvPr id="0" name=""/>
        <dsp:cNvSpPr/>
      </dsp:nvSpPr>
      <dsp:spPr>
        <a:xfrm>
          <a:off x="4786593" y="6025759"/>
          <a:ext cx="338613" cy="91440"/>
        </a:xfrm>
        <a:custGeom>
          <a:avLst/>
          <a:gdLst/>
          <a:ahLst/>
          <a:cxnLst/>
          <a:rect l="0" t="0" r="0" b="0"/>
          <a:pathLst>
            <a:path>
              <a:moveTo>
                <a:pt x="0" y="45720"/>
              </a:moveTo>
              <a:lnTo>
                <a:pt x="338613" y="4572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US" sz="800" kern="1200">
            <a:solidFill>
              <a:srgbClr val="4A4A4A"/>
            </a:solidFill>
          </a:endParaRPr>
        </a:p>
      </dsp:txBody>
      <dsp:txXfrm>
        <a:off x="4947434" y="6063013"/>
        <a:ext cx="16930" cy="16930"/>
      </dsp:txXfrm>
    </dsp:sp>
    <dsp:sp modelId="{C8A2999F-E467-4C87-B764-FD504920E679}">
      <dsp:nvSpPr>
        <dsp:cNvPr id="0" name=""/>
        <dsp:cNvSpPr/>
      </dsp:nvSpPr>
      <dsp:spPr>
        <a:xfrm>
          <a:off x="2023984" y="3329280"/>
          <a:ext cx="338613" cy="2742198"/>
        </a:xfrm>
        <a:custGeom>
          <a:avLst/>
          <a:gdLst/>
          <a:ahLst/>
          <a:cxnLst/>
          <a:rect l="0" t="0" r="0" b="0"/>
          <a:pathLst>
            <a:path>
              <a:moveTo>
                <a:pt x="0" y="0"/>
              </a:moveTo>
              <a:lnTo>
                <a:pt x="169306" y="0"/>
              </a:lnTo>
              <a:lnTo>
                <a:pt x="169306" y="2742198"/>
              </a:lnTo>
              <a:lnTo>
                <a:pt x="338613" y="274219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US" sz="800" kern="1200">
            <a:solidFill>
              <a:srgbClr val="4A4A4A"/>
            </a:solidFill>
          </a:endParaRPr>
        </a:p>
      </dsp:txBody>
      <dsp:txXfrm>
        <a:off x="2124215" y="4631304"/>
        <a:ext cx="138151" cy="138151"/>
      </dsp:txXfrm>
    </dsp:sp>
    <dsp:sp modelId="{DA18321B-7C20-4513-AAD2-D4AD5E05017D}">
      <dsp:nvSpPr>
        <dsp:cNvPr id="0" name=""/>
        <dsp:cNvSpPr/>
      </dsp:nvSpPr>
      <dsp:spPr>
        <a:xfrm>
          <a:off x="4786593" y="5103644"/>
          <a:ext cx="338613" cy="322611"/>
        </a:xfrm>
        <a:custGeom>
          <a:avLst/>
          <a:gdLst/>
          <a:ahLst/>
          <a:cxnLst/>
          <a:rect l="0" t="0" r="0" b="0"/>
          <a:pathLst>
            <a:path>
              <a:moveTo>
                <a:pt x="0" y="0"/>
              </a:moveTo>
              <a:lnTo>
                <a:pt x="169306" y="0"/>
              </a:lnTo>
              <a:lnTo>
                <a:pt x="169306" y="322611"/>
              </a:lnTo>
              <a:lnTo>
                <a:pt x="338613" y="32261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US" sz="800" kern="1200">
            <a:solidFill>
              <a:srgbClr val="4A4A4A"/>
            </a:solidFill>
          </a:endParaRPr>
        </a:p>
      </dsp:txBody>
      <dsp:txXfrm>
        <a:off x="4944207" y="5253257"/>
        <a:ext cx="23384" cy="23384"/>
      </dsp:txXfrm>
    </dsp:sp>
    <dsp:sp modelId="{4928FE66-4C82-491A-9FC5-3447046EEA67}">
      <dsp:nvSpPr>
        <dsp:cNvPr id="0" name=""/>
        <dsp:cNvSpPr/>
      </dsp:nvSpPr>
      <dsp:spPr>
        <a:xfrm>
          <a:off x="4786593" y="4781032"/>
          <a:ext cx="338613" cy="322611"/>
        </a:xfrm>
        <a:custGeom>
          <a:avLst/>
          <a:gdLst/>
          <a:ahLst/>
          <a:cxnLst/>
          <a:rect l="0" t="0" r="0" b="0"/>
          <a:pathLst>
            <a:path>
              <a:moveTo>
                <a:pt x="0" y="322611"/>
              </a:moveTo>
              <a:lnTo>
                <a:pt x="169306" y="322611"/>
              </a:lnTo>
              <a:lnTo>
                <a:pt x="169306" y="0"/>
              </a:lnTo>
              <a:lnTo>
                <a:pt x="338613" y="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US" sz="800" kern="1200">
            <a:solidFill>
              <a:srgbClr val="4A4A4A"/>
            </a:solidFill>
          </a:endParaRPr>
        </a:p>
      </dsp:txBody>
      <dsp:txXfrm>
        <a:off x="4944207" y="4930646"/>
        <a:ext cx="23384" cy="23384"/>
      </dsp:txXfrm>
    </dsp:sp>
    <dsp:sp modelId="{7AAD3895-0F3F-490A-A670-A34BDD398382}">
      <dsp:nvSpPr>
        <dsp:cNvPr id="0" name=""/>
        <dsp:cNvSpPr/>
      </dsp:nvSpPr>
      <dsp:spPr>
        <a:xfrm>
          <a:off x="2023984" y="3329280"/>
          <a:ext cx="338613" cy="1774363"/>
        </a:xfrm>
        <a:custGeom>
          <a:avLst/>
          <a:gdLst/>
          <a:ahLst/>
          <a:cxnLst/>
          <a:rect l="0" t="0" r="0" b="0"/>
          <a:pathLst>
            <a:path>
              <a:moveTo>
                <a:pt x="0" y="0"/>
              </a:moveTo>
              <a:lnTo>
                <a:pt x="169306" y="0"/>
              </a:lnTo>
              <a:lnTo>
                <a:pt x="169306" y="1774363"/>
              </a:lnTo>
              <a:lnTo>
                <a:pt x="338613" y="177436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US" sz="800" kern="1200">
            <a:solidFill>
              <a:srgbClr val="4A4A4A"/>
            </a:solidFill>
          </a:endParaRPr>
        </a:p>
      </dsp:txBody>
      <dsp:txXfrm>
        <a:off x="2148131" y="4171303"/>
        <a:ext cx="90319" cy="90319"/>
      </dsp:txXfrm>
    </dsp:sp>
    <dsp:sp modelId="{B29FD42C-75AF-4C4E-86A5-907594EBA33D}">
      <dsp:nvSpPr>
        <dsp:cNvPr id="0" name=""/>
        <dsp:cNvSpPr/>
      </dsp:nvSpPr>
      <dsp:spPr>
        <a:xfrm>
          <a:off x="4786593" y="3167975"/>
          <a:ext cx="338613" cy="967834"/>
        </a:xfrm>
        <a:custGeom>
          <a:avLst/>
          <a:gdLst/>
          <a:ahLst/>
          <a:cxnLst/>
          <a:rect l="0" t="0" r="0" b="0"/>
          <a:pathLst>
            <a:path>
              <a:moveTo>
                <a:pt x="0" y="0"/>
              </a:moveTo>
              <a:lnTo>
                <a:pt x="169306" y="0"/>
              </a:lnTo>
              <a:lnTo>
                <a:pt x="169306" y="967834"/>
              </a:lnTo>
              <a:lnTo>
                <a:pt x="338613" y="96783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US" sz="800" kern="1200">
            <a:solidFill>
              <a:srgbClr val="4A4A4A"/>
            </a:solidFill>
          </a:endParaRPr>
        </a:p>
      </dsp:txBody>
      <dsp:txXfrm>
        <a:off x="4930265" y="3626258"/>
        <a:ext cx="51267" cy="51267"/>
      </dsp:txXfrm>
    </dsp:sp>
    <dsp:sp modelId="{29040B46-E8B7-4BCD-81B6-428E6B945B5F}">
      <dsp:nvSpPr>
        <dsp:cNvPr id="0" name=""/>
        <dsp:cNvSpPr/>
      </dsp:nvSpPr>
      <dsp:spPr>
        <a:xfrm>
          <a:off x="4786593" y="3167975"/>
          <a:ext cx="338613" cy="322611"/>
        </a:xfrm>
        <a:custGeom>
          <a:avLst/>
          <a:gdLst/>
          <a:ahLst/>
          <a:cxnLst/>
          <a:rect l="0" t="0" r="0" b="0"/>
          <a:pathLst>
            <a:path>
              <a:moveTo>
                <a:pt x="0" y="0"/>
              </a:moveTo>
              <a:lnTo>
                <a:pt x="169306" y="0"/>
              </a:lnTo>
              <a:lnTo>
                <a:pt x="169306" y="322611"/>
              </a:lnTo>
              <a:lnTo>
                <a:pt x="338613" y="32261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US" sz="800" kern="1200">
            <a:solidFill>
              <a:srgbClr val="4A4A4A"/>
            </a:solidFill>
          </a:endParaRPr>
        </a:p>
      </dsp:txBody>
      <dsp:txXfrm>
        <a:off x="4944207" y="3317588"/>
        <a:ext cx="23384" cy="23384"/>
      </dsp:txXfrm>
    </dsp:sp>
    <dsp:sp modelId="{BD1551B0-8C86-482D-B191-529ECABF595D}">
      <dsp:nvSpPr>
        <dsp:cNvPr id="0" name=""/>
        <dsp:cNvSpPr/>
      </dsp:nvSpPr>
      <dsp:spPr>
        <a:xfrm>
          <a:off x="4786593" y="2845363"/>
          <a:ext cx="338613" cy="322611"/>
        </a:xfrm>
        <a:custGeom>
          <a:avLst/>
          <a:gdLst/>
          <a:ahLst/>
          <a:cxnLst/>
          <a:rect l="0" t="0" r="0" b="0"/>
          <a:pathLst>
            <a:path>
              <a:moveTo>
                <a:pt x="0" y="322611"/>
              </a:moveTo>
              <a:lnTo>
                <a:pt x="169306" y="322611"/>
              </a:lnTo>
              <a:lnTo>
                <a:pt x="169306" y="0"/>
              </a:lnTo>
              <a:lnTo>
                <a:pt x="338613" y="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US" sz="800" kern="1200">
            <a:solidFill>
              <a:srgbClr val="4A4A4A"/>
            </a:solidFill>
          </a:endParaRPr>
        </a:p>
      </dsp:txBody>
      <dsp:txXfrm>
        <a:off x="4944207" y="2994976"/>
        <a:ext cx="23384" cy="23384"/>
      </dsp:txXfrm>
    </dsp:sp>
    <dsp:sp modelId="{1C3CB20C-6F34-4FC2-A71C-96631C6F918B}">
      <dsp:nvSpPr>
        <dsp:cNvPr id="0" name=""/>
        <dsp:cNvSpPr/>
      </dsp:nvSpPr>
      <dsp:spPr>
        <a:xfrm>
          <a:off x="4786593" y="2200140"/>
          <a:ext cx="338613" cy="967834"/>
        </a:xfrm>
        <a:custGeom>
          <a:avLst/>
          <a:gdLst/>
          <a:ahLst/>
          <a:cxnLst/>
          <a:rect l="0" t="0" r="0" b="0"/>
          <a:pathLst>
            <a:path>
              <a:moveTo>
                <a:pt x="0" y="967834"/>
              </a:moveTo>
              <a:lnTo>
                <a:pt x="169306" y="967834"/>
              </a:lnTo>
              <a:lnTo>
                <a:pt x="169306" y="0"/>
              </a:lnTo>
              <a:lnTo>
                <a:pt x="338613" y="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US" sz="800" kern="1200">
            <a:solidFill>
              <a:srgbClr val="4A4A4A"/>
            </a:solidFill>
          </a:endParaRPr>
        </a:p>
      </dsp:txBody>
      <dsp:txXfrm>
        <a:off x="4930265" y="2658423"/>
        <a:ext cx="51267" cy="51267"/>
      </dsp:txXfrm>
    </dsp:sp>
    <dsp:sp modelId="{C5F5DB63-AAD2-44A7-81EE-CD2DAAEF1B7D}">
      <dsp:nvSpPr>
        <dsp:cNvPr id="0" name=""/>
        <dsp:cNvSpPr/>
      </dsp:nvSpPr>
      <dsp:spPr>
        <a:xfrm>
          <a:off x="2023984" y="3167975"/>
          <a:ext cx="338613" cy="161305"/>
        </a:xfrm>
        <a:custGeom>
          <a:avLst/>
          <a:gdLst/>
          <a:ahLst/>
          <a:cxnLst/>
          <a:rect l="0" t="0" r="0" b="0"/>
          <a:pathLst>
            <a:path>
              <a:moveTo>
                <a:pt x="0" y="161305"/>
              </a:moveTo>
              <a:lnTo>
                <a:pt x="169306" y="161305"/>
              </a:lnTo>
              <a:lnTo>
                <a:pt x="169306" y="0"/>
              </a:lnTo>
              <a:lnTo>
                <a:pt x="338613"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US" sz="800" kern="1200">
            <a:solidFill>
              <a:srgbClr val="4A4A4A"/>
            </a:solidFill>
          </a:endParaRPr>
        </a:p>
      </dsp:txBody>
      <dsp:txXfrm>
        <a:off x="2183914" y="3239251"/>
        <a:ext cx="18753" cy="18753"/>
      </dsp:txXfrm>
    </dsp:sp>
    <dsp:sp modelId="{940FF0D5-3C57-404B-8113-05B69BA1A9D4}">
      <dsp:nvSpPr>
        <dsp:cNvPr id="0" name=""/>
        <dsp:cNvSpPr/>
      </dsp:nvSpPr>
      <dsp:spPr>
        <a:xfrm>
          <a:off x="4786593" y="1509197"/>
          <a:ext cx="338613" cy="91440"/>
        </a:xfrm>
        <a:custGeom>
          <a:avLst/>
          <a:gdLst/>
          <a:ahLst/>
          <a:cxnLst/>
          <a:rect l="0" t="0" r="0" b="0"/>
          <a:pathLst>
            <a:path>
              <a:moveTo>
                <a:pt x="0" y="45720"/>
              </a:moveTo>
              <a:lnTo>
                <a:pt x="338613" y="4572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US" sz="800" kern="1200">
            <a:solidFill>
              <a:srgbClr val="4A4A4A"/>
            </a:solidFill>
          </a:endParaRPr>
        </a:p>
      </dsp:txBody>
      <dsp:txXfrm>
        <a:off x="4947434" y="1546451"/>
        <a:ext cx="16930" cy="16930"/>
      </dsp:txXfrm>
    </dsp:sp>
    <dsp:sp modelId="{D864782E-E0C8-4912-BE81-BBC134058F6E}">
      <dsp:nvSpPr>
        <dsp:cNvPr id="0" name=""/>
        <dsp:cNvSpPr/>
      </dsp:nvSpPr>
      <dsp:spPr>
        <a:xfrm>
          <a:off x="2023984" y="1554917"/>
          <a:ext cx="338613" cy="1774363"/>
        </a:xfrm>
        <a:custGeom>
          <a:avLst/>
          <a:gdLst/>
          <a:ahLst/>
          <a:cxnLst/>
          <a:rect l="0" t="0" r="0" b="0"/>
          <a:pathLst>
            <a:path>
              <a:moveTo>
                <a:pt x="0" y="1774363"/>
              </a:moveTo>
              <a:lnTo>
                <a:pt x="169306" y="1774363"/>
              </a:lnTo>
              <a:lnTo>
                <a:pt x="169306" y="0"/>
              </a:lnTo>
              <a:lnTo>
                <a:pt x="338613"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US" sz="800" kern="1200">
            <a:solidFill>
              <a:srgbClr val="4A4A4A"/>
            </a:solidFill>
          </a:endParaRPr>
        </a:p>
      </dsp:txBody>
      <dsp:txXfrm>
        <a:off x="2148131" y="2396939"/>
        <a:ext cx="90319" cy="90319"/>
      </dsp:txXfrm>
    </dsp:sp>
    <dsp:sp modelId="{07E1AC76-A19C-4EE6-A97D-DB10C23167F2}">
      <dsp:nvSpPr>
        <dsp:cNvPr id="0" name=""/>
        <dsp:cNvSpPr/>
      </dsp:nvSpPr>
      <dsp:spPr>
        <a:xfrm>
          <a:off x="4786593" y="587082"/>
          <a:ext cx="338613" cy="322611"/>
        </a:xfrm>
        <a:custGeom>
          <a:avLst/>
          <a:gdLst/>
          <a:ahLst/>
          <a:cxnLst/>
          <a:rect l="0" t="0" r="0" b="0"/>
          <a:pathLst>
            <a:path>
              <a:moveTo>
                <a:pt x="0" y="0"/>
              </a:moveTo>
              <a:lnTo>
                <a:pt x="169306" y="0"/>
              </a:lnTo>
              <a:lnTo>
                <a:pt x="169306" y="322611"/>
              </a:lnTo>
              <a:lnTo>
                <a:pt x="338613" y="32261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US" sz="800" kern="1200">
            <a:solidFill>
              <a:srgbClr val="4A4A4A"/>
            </a:solidFill>
          </a:endParaRPr>
        </a:p>
      </dsp:txBody>
      <dsp:txXfrm>
        <a:off x="4944207" y="736695"/>
        <a:ext cx="23384" cy="23384"/>
      </dsp:txXfrm>
    </dsp:sp>
    <dsp:sp modelId="{27817BB4-D168-4FEA-A5C7-7E3A4A29FBD1}">
      <dsp:nvSpPr>
        <dsp:cNvPr id="0" name=""/>
        <dsp:cNvSpPr/>
      </dsp:nvSpPr>
      <dsp:spPr>
        <a:xfrm>
          <a:off x="4786593" y="264470"/>
          <a:ext cx="338613" cy="322611"/>
        </a:xfrm>
        <a:custGeom>
          <a:avLst/>
          <a:gdLst/>
          <a:ahLst/>
          <a:cxnLst/>
          <a:rect l="0" t="0" r="0" b="0"/>
          <a:pathLst>
            <a:path>
              <a:moveTo>
                <a:pt x="0" y="322611"/>
              </a:moveTo>
              <a:lnTo>
                <a:pt x="169306" y="322611"/>
              </a:lnTo>
              <a:lnTo>
                <a:pt x="169306" y="0"/>
              </a:lnTo>
              <a:lnTo>
                <a:pt x="338613" y="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US" sz="800" kern="1200">
            <a:solidFill>
              <a:srgbClr val="4A4A4A"/>
            </a:solidFill>
          </a:endParaRPr>
        </a:p>
      </dsp:txBody>
      <dsp:txXfrm>
        <a:off x="4944207" y="414084"/>
        <a:ext cx="23384" cy="23384"/>
      </dsp:txXfrm>
    </dsp:sp>
    <dsp:sp modelId="{338F5B5B-65E1-423C-9EA2-10B498E062A0}">
      <dsp:nvSpPr>
        <dsp:cNvPr id="0" name=""/>
        <dsp:cNvSpPr/>
      </dsp:nvSpPr>
      <dsp:spPr>
        <a:xfrm>
          <a:off x="2023984" y="587082"/>
          <a:ext cx="338613" cy="2742198"/>
        </a:xfrm>
        <a:custGeom>
          <a:avLst/>
          <a:gdLst/>
          <a:ahLst/>
          <a:cxnLst/>
          <a:rect l="0" t="0" r="0" b="0"/>
          <a:pathLst>
            <a:path>
              <a:moveTo>
                <a:pt x="0" y="2742198"/>
              </a:moveTo>
              <a:lnTo>
                <a:pt x="169306" y="2742198"/>
              </a:lnTo>
              <a:lnTo>
                <a:pt x="169306" y="0"/>
              </a:lnTo>
              <a:lnTo>
                <a:pt x="338613"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US" sz="800" kern="1200">
            <a:solidFill>
              <a:srgbClr val="4A4A4A"/>
            </a:solidFill>
          </a:endParaRPr>
        </a:p>
      </dsp:txBody>
      <dsp:txXfrm>
        <a:off x="2124215" y="1889105"/>
        <a:ext cx="138151" cy="138151"/>
      </dsp:txXfrm>
    </dsp:sp>
    <dsp:sp modelId="{876B423C-3190-4967-83DF-0604BBCB998D}">
      <dsp:nvSpPr>
        <dsp:cNvPr id="0" name=""/>
        <dsp:cNvSpPr/>
      </dsp:nvSpPr>
      <dsp:spPr>
        <a:xfrm rot="16200000">
          <a:off x="-782329" y="2798553"/>
          <a:ext cx="4551173" cy="106145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rgbClr val="4A4A4A"/>
              </a:solidFill>
            </a:rPr>
            <a:t>Awaiting Cargo </a:t>
          </a:r>
        </a:p>
        <a:p>
          <a:pPr marL="0" lvl="0" indent="0" algn="ctr" defTabSz="800100">
            <a:lnSpc>
              <a:spcPct val="90000"/>
            </a:lnSpc>
            <a:spcBef>
              <a:spcPct val="0"/>
            </a:spcBef>
            <a:spcAft>
              <a:spcPct val="35000"/>
            </a:spcAft>
            <a:buNone/>
          </a:pPr>
          <a:r>
            <a:rPr lang="en-US" sz="1800" kern="1200" dirty="0">
              <a:solidFill>
                <a:srgbClr val="4A4A4A"/>
              </a:solidFill>
            </a:rPr>
            <a:t>Protracted cargo preparation time</a:t>
          </a:r>
        </a:p>
      </dsp:txBody>
      <dsp:txXfrm>
        <a:off x="-782329" y="2798553"/>
        <a:ext cx="4551173" cy="1061454"/>
      </dsp:txXfrm>
    </dsp:sp>
    <dsp:sp modelId="{10F6BD1A-09D4-4DDF-AFD4-48D45EB93024}">
      <dsp:nvSpPr>
        <dsp:cNvPr id="0" name=""/>
        <dsp:cNvSpPr/>
      </dsp:nvSpPr>
      <dsp:spPr>
        <a:xfrm>
          <a:off x="2362597" y="328993"/>
          <a:ext cx="2423995" cy="51617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US" sz="1050" b="0" i="0" u="none" kern="1200" dirty="0">
              <a:solidFill>
                <a:srgbClr val="4A4A4A"/>
              </a:solidFill>
            </a:rPr>
            <a:t>1.Low/No Receipt</a:t>
          </a:r>
          <a:endParaRPr lang="en-US" sz="1050" kern="1200" dirty="0">
            <a:solidFill>
              <a:srgbClr val="4A4A4A"/>
            </a:solidFill>
          </a:endParaRPr>
        </a:p>
      </dsp:txBody>
      <dsp:txXfrm>
        <a:off x="2362597" y="328993"/>
        <a:ext cx="2423995" cy="516178"/>
      </dsp:txXfrm>
    </dsp:sp>
    <dsp:sp modelId="{6DD2ED10-EACE-4FD5-B9BC-F833A319D28D}">
      <dsp:nvSpPr>
        <dsp:cNvPr id="0" name=""/>
        <dsp:cNvSpPr/>
      </dsp:nvSpPr>
      <dsp:spPr>
        <a:xfrm>
          <a:off x="5125206" y="6381"/>
          <a:ext cx="4165720" cy="51617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0" i="0" u="none" kern="1200" dirty="0">
              <a:solidFill>
                <a:srgbClr val="4A4A4A"/>
              </a:solidFill>
            </a:rPr>
            <a:t>Receipt unpredictability e.g. UPS or upstream facilities issues</a:t>
          </a:r>
          <a:endParaRPr lang="en-US" sz="1000" kern="1200" dirty="0">
            <a:solidFill>
              <a:srgbClr val="4A4A4A"/>
            </a:solidFill>
          </a:endParaRPr>
        </a:p>
      </dsp:txBody>
      <dsp:txXfrm>
        <a:off x="5125206" y="6381"/>
        <a:ext cx="4165720" cy="516178"/>
      </dsp:txXfrm>
    </dsp:sp>
    <dsp:sp modelId="{D71DB4A9-36E8-4390-A1BD-4007AC791BF8}">
      <dsp:nvSpPr>
        <dsp:cNvPr id="0" name=""/>
        <dsp:cNvSpPr/>
      </dsp:nvSpPr>
      <dsp:spPr>
        <a:xfrm>
          <a:off x="5125206" y="651604"/>
          <a:ext cx="4165720" cy="51617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0" i="0" u="none" kern="1200" dirty="0">
              <a:solidFill>
                <a:srgbClr val="4A4A4A"/>
              </a:solidFill>
            </a:rPr>
            <a:t>Unscheduled unavailability of trunklines - TNP, TFP e.g. Sabotage etc.</a:t>
          </a:r>
          <a:endParaRPr lang="en-US" sz="1000" kern="1200" dirty="0">
            <a:solidFill>
              <a:srgbClr val="4A4A4A"/>
            </a:solidFill>
          </a:endParaRPr>
        </a:p>
      </dsp:txBody>
      <dsp:txXfrm>
        <a:off x="5125206" y="651604"/>
        <a:ext cx="4165720" cy="516178"/>
      </dsp:txXfrm>
    </dsp:sp>
    <dsp:sp modelId="{0756056B-EDAB-42D0-84C7-2CEB1CB71CF4}">
      <dsp:nvSpPr>
        <dsp:cNvPr id="0" name=""/>
        <dsp:cNvSpPr/>
      </dsp:nvSpPr>
      <dsp:spPr>
        <a:xfrm>
          <a:off x="2362597" y="1296827"/>
          <a:ext cx="2423995" cy="516178"/>
        </a:xfrm>
        <a:prstGeom prst="rect">
          <a:avLst/>
        </a:prstGeom>
        <a:solidFill>
          <a:srgbClr val="33609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US" sz="1050" b="0" i="0" u="none" kern="1200" dirty="0">
              <a:solidFill>
                <a:srgbClr val="FFFFFF"/>
              </a:solidFill>
            </a:rPr>
            <a:t>2.Inadequate Ullage – FOT</a:t>
          </a:r>
          <a:endParaRPr lang="en-US" sz="1050" kern="1200" dirty="0">
            <a:solidFill>
              <a:srgbClr val="FFFFFF"/>
            </a:solidFill>
          </a:endParaRPr>
        </a:p>
      </dsp:txBody>
      <dsp:txXfrm>
        <a:off x="2362597" y="1296827"/>
        <a:ext cx="2423995" cy="516178"/>
      </dsp:txXfrm>
    </dsp:sp>
    <dsp:sp modelId="{CE39256C-2C1C-4A2E-8AB9-C90FF07AD830}">
      <dsp:nvSpPr>
        <dsp:cNvPr id="0" name=""/>
        <dsp:cNvSpPr/>
      </dsp:nvSpPr>
      <dsp:spPr>
        <a:xfrm>
          <a:off x="5125206" y="1296827"/>
          <a:ext cx="5244338" cy="516178"/>
        </a:xfrm>
        <a:prstGeom prst="rect">
          <a:avLst/>
        </a:prstGeom>
        <a:solidFill>
          <a:srgbClr val="33609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u="none" strike="noStrike" kern="1200" dirty="0">
              <a:solidFill>
                <a:srgbClr val="FFFFFF"/>
              </a:solidFill>
              <a:effectLst/>
            </a:rPr>
            <a:t>Available ullage vs design capacity vs receipt:  5CSTs vs 9CSTs</a:t>
          </a:r>
          <a:br>
            <a:rPr lang="en-US" sz="900" u="none" strike="noStrike" kern="1200" dirty="0">
              <a:solidFill>
                <a:srgbClr val="FFFFFF"/>
              </a:solidFill>
              <a:effectLst/>
            </a:rPr>
          </a:br>
          <a:r>
            <a:rPr lang="en-US" sz="900" u="none" strike="noStrike" kern="1200" dirty="0">
              <a:solidFill>
                <a:srgbClr val="FFFFFF"/>
              </a:solidFill>
              <a:effectLst/>
            </a:rPr>
            <a:t>Tanker programming has little room for flexibility. Tank top (leading to production cutback)</a:t>
          </a:r>
          <a:br>
            <a:rPr lang="en-US" sz="900" u="none" strike="noStrike" kern="1200" dirty="0">
              <a:solidFill>
                <a:srgbClr val="FFFFFF"/>
              </a:solidFill>
              <a:effectLst/>
            </a:rPr>
          </a:br>
          <a:r>
            <a:rPr lang="en-US" sz="900" u="none" strike="noStrike" kern="1200" dirty="0">
              <a:solidFill>
                <a:srgbClr val="FFFFFF"/>
              </a:solidFill>
              <a:effectLst/>
            </a:rPr>
            <a:t>Tank bottom - demurrage outcome</a:t>
          </a:r>
          <a:endParaRPr lang="en-US" sz="900" kern="1200" dirty="0">
            <a:solidFill>
              <a:srgbClr val="FFFFFF"/>
            </a:solidFill>
          </a:endParaRPr>
        </a:p>
      </dsp:txBody>
      <dsp:txXfrm>
        <a:off x="5125206" y="1296827"/>
        <a:ext cx="5244338" cy="516178"/>
      </dsp:txXfrm>
    </dsp:sp>
    <dsp:sp modelId="{95E1ABA7-D3F0-46BE-91EB-80F19608D429}">
      <dsp:nvSpPr>
        <dsp:cNvPr id="0" name=""/>
        <dsp:cNvSpPr/>
      </dsp:nvSpPr>
      <dsp:spPr>
        <a:xfrm>
          <a:off x="2362597" y="2909885"/>
          <a:ext cx="2423995" cy="51617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US" sz="1050" b="0" i="0" u="none" kern="1200" dirty="0">
              <a:solidFill>
                <a:srgbClr val="4A4A4A"/>
              </a:solidFill>
            </a:rPr>
            <a:t>3.High Emulsion content in receipt</a:t>
          </a:r>
          <a:endParaRPr lang="en-US" sz="1050" kern="1200" dirty="0">
            <a:solidFill>
              <a:srgbClr val="4A4A4A"/>
            </a:solidFill>
          </a:endParaRPr>
        </a:p>
      </dsp:txBody>
      <dsp:txXfrm>
        <a:off x="2362597" y="2909885"/>
        <a:ext cx="2423995" cy="516178"/>
      </dsp:txXfrm>
    </dsp:sp>
    <dsp:sp modelId="{1C230B10-2D2C-429A-95EF-4BB3D779EA16}">
      <dsp:nvSpPr>
        <dsp:cNvPr id="0" name=""/>
        <dsp:cNvSpPr/>
      </dsp:nvSpPr>
      <dsp:spPr>
        <a:xfrm>
          <a:off x="5125206" y="1942050"/>
          <a:ext cx="4165720" cy="51617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0" i="0" u="none" kern="1200" dirty="0">
              <a:solidFill>
                <a:srgbClr val="4A4A4A"/>
              </a:solidFill>
            </a:rPr>
            <a:t>Upstream stations fail to inject sufficient </a:t>
          </a:r>
          <a:r>
            <a:rPr lang="en-US" sz="1000" b="0" i="0" u="none" kern="1200" dirty="0" err="1">
              <a:solidFill>
                <a:srgbClr val="4A4A4A"/>
              </a:solidFill>
            </a:rPr>
            <a:t>demulsifiers</a:t>
          </a:r>
          <a:r>
            <a:rPr lang="en-US" sz="1000" b="0" i="0" u="none" kern="1200" dirty="0">
              <a:solidFill>
                <a:srgbClr val="4A4A4A"/>
              </a:solidFill>
            </a:rPr>
            <a:t> into production stream</a:t>
          </a:r>
          <a:endParaRPr lang="en-US" sz="1000" kern="1200" dirty="0">
            <a:solidFill>
              <a:srgbClr val="4A4A4A"/>
            </a:solidFill>
          </a:endParaRPr>
        </a:p>
      </dsp:txBody>
      <dsp:txXfrm>
        <a:off x="5125206" y="1942050"/>
        <a:ext cx="4165720" cy="516178"/>
      </dsp:txXfrm>
    </dsp:sp>
    <dsp:sp modelId="{FF89077B-5AC9-4860-8AE4-7B235129910C}">
      <dsp:nvSpPr>
        <dsp:cNvPr id="0" name=""/>
        <dsp:cNvSpPr/>
      </dsp:nvSpPr>
      <dsp:spPr>
        <a:xfrm>
          <a:off x="5125206" y="2587274"/>
          <a:ext cx="4165720" cy="516178"/>
        </a:xfrm>
        <a:prstGeom prst="rect">
          <a:avLst/>
        </a:prstGeom>
        <a:solidFill>
          <a:srgbClr val="33609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0" i="0" u="none" kern="1200" dirty="0">
              <a:solidFill>
                <a:srgbClr val="FFFFFF"/>
              </a:solidFill>
            </a:rPr>
            <a:t>High volume of Untreated water e.g. UPS</a:t>
          </a:r>
          <a:endParaRPr lang="en-US" sz="1000" kern="1200" dirty="0">
            <a:solidFill>
              <a:srgbClr val="FFFFFF"/>
            </a:solidFill>
          </a:endParaRPr>
        </a:p>
      </dsp:txBody>
      <dsp:txXfrm>
        <a:off x="5125206" y="2587274"/>
        <a:ext cx="4165720" cy="516178"/>
      </dsp:txXfrm>
    </dsp:sp>
    <dsp:sp modelId="{4D1AAC64-12EF-4071-BEF7-00F3AAFFB41E}">
      <dsp:nvSpPr>
        <dsp:cNvPr id="0" name=""/>
        <dsp:cNvSpPr/>
      </dsp:nvSpPr>
      <dsp:spPr>
        <a:xfrm>
          <a:off x="5125206" y="3232497"/>
          <a:ext cx="4165720" cy="51617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0" i="0" u="none" kern="1200" dirty="0">
              <a:solidFill>
                <a:srgbClr val="4A4A4A"/>
              </a:solidFill>
            </a:rPr>
            <a:t>Effluent generated into production downstream of producing facilities</a:t>
          </a:r>
          <a:endParaRPr lang="en-US" sz="1000" kern="1200" dirty="0">
            <a:solidFill>
              <a:srgbClr val="4A4A4A"/>
            </a:solidFill>
          </a:endParaRPr>
        </a:p>
      </dsp:txBody>
      <dsp:txXfrm>
        <a:off x="5125206" y="3232497"/>
        <a:ext cx="4165720" cy="516178"/>
      </dsp:txXfrm>
    </dsp:sp>
    <dsp:sp modelId="{08F033FF-2B2F-45CB-BB5C-5B42F377C921}">
      <dsp:nvSpPr>
        <dsp:cNvPr id="0" name=""/>
        <dsp:cNvSpPr/>
      </dsp:nvSpPr>
      <dsp:spPr>
        <a:xfrm>
          <a:off x="5125206" y="3877720"/>
          <a:ext cx="4165720" cy="516178"/>
        </a:xfrm>
        <a:prstGeom prst="rect">
          <a:avLst/>
        </a:prstGeom>
        <a:solidFill>
          <a:srgbClr val="33609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0" i="0" u="none" kern="1200" dirty="0">
              <a:solidFill>
                <a:srgbClr val="FFFFFF"/>
              </a:solidFill>
            </a:rPr>
            <a:t>Unavailability of FOT Emulsion treatment system - Height of sludge already resident in Crude Storage tanks</a:t>
          </a:r>
          <a:endParaRPr lang="en-US" sz="1000" kern="1200" dirty="0">
            <a:solidFill>
              <a:srgbClr val="FFFFFF"/>
            </a:solidFill>
          </a:endParaRPr>
        </a:p>
      </dsp:txBody>
      <dsp:txXfrm>
        <a:off x="5125206" y="3877720"/>
        <a:ext cx="4165720" cy="516178"/>
      </dsp:txXfrm>
    </dsp:sp>
    <dsp:sp modelId="{A42FAF19-211A-494F-B890-27FCC44E31F3}">
      <dsp:nvSpPr>
        <dsp:cNvPr id="0" name=""/>
        <dsp:cNvSpPr/>
      </dsp:nvSpPr>
      <dsp:spPr>
        <a:xfrm>
          <a:off x="2362597" y="4845555"/>
          <a:ext cx="2423995" cy="516178"/>
        </a:xfrm>
        <a:prstGeom prst="rect">
          <a:avLst/>
        </a:prstGeom>
        <a:solidFill>
          <a:srgbClr val="743A1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US" sz="1050" b="0" i="0" u="none" kern="1200" dirty="0">
              <a:solidFill>
                <a:srgbClr val="FFFFFF"/>
              </a:solidFill>
            </a:rPr>
            <a:t>4.Quality – SBM3 intake – BOGT</a:t>
          </a:r>
          <a:endParaRPr lang="en-US" sz="1050" kern="1200" dirty="0">
            <a:solidFill>
              <a:srgbClr val="FFFFFF"/>
            </a:solidFill>
          </a:endParaRPr>
        </a:p>
      </dsp:txBody>
      <dsp:txXfrm>
        <a:off x="2362597" y="4845555"/>
        <a:ext cx="2423995" cy="516178"/>
      </dsp:txXfrm>
    </dsp:sp>
    <dsp:sp modelId="{1CF87F2E-ABFC-4E55-B68D-9172D8901194}">
      <dsp:nvSpPr>
        <dsp:cNvPr id="0" name=""/>
        <dsp:cNvSpPr/>
      </dsp:nvSpPr>
      <dsp:spPr>
        <a:xfrm>
          <a:off x="5125206" y="4522943"/>
          <a:ext cx="4165720" cy="516178"/>
        </a:xfrm>
        <a:prstGeom prst="rect">
          <a:avLst/>
        </a:prstGeom>
        <a:solidFill>
          <a:srgbClr val="743A1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0" i="0" u="none" kern="1200" dirty="0">
              <a:solidFill>
                <a:srgbClr val="FFFFFF"/>
              </a:solidFill>
            </a:rPr>
            <a:t>Liquids from </a:t>
          </a:r>
          <a:r>
            <a:rPr lang="en-US" sz="1000" b="0" i="0" u="none" kern="1200" dirty="0" err="1">
              <a:solidFill>
                <a:srgbClr val="FFFFFF"/>
              </a:solidFill>
            </a:rPr>
            <a:t>Soku</a:t>
          </a:r>
          <a:r>
            <a:rPr lang="en-US" sz="1000" b="0" i="0" u="none" kern="1200" dirty="0">
              <a:solidFill>
                <a:srgbClr val="FFFFFF"/>
              </a:solidFill>
            </a:rPr>
            <a:t> is predominantly higher API - condensate.</a:t>
          </a:r>
          <a:br>
            <a:rPr lang="en-US" sz="1000" b="0" i="0" u="none" kern="1200" dirty="0">
              <a:solidFill>
                <a:srgbClr val="FFFFFF"/>
              </a:solidFill>
            </a:rPr>
          </a:br>
          <a:r>
            <a:rPr lang="en-US" sz="1000" b="0" i="0" u="none" kern="1200" dirty="0">
              <a:solidFill>
                <a:srgbClr val="FFFFFF"/>
              </a:solidFill>
            </a:rPr>
            <a:t>Less Low API crude available to blend.</a:t>
          </a:r>
          <a:endParaRPr lang="en-US" sz="1000" kern="1200" dirty="0">
            <a:solidFill>
              <a:srgbClr val="FFFFFF"/>
            </a:solidFill>
          </a:endParaRPr>
        </a:p>
      </dsp:txBody>
      <dsp:txXfrm>
        <a:off x="5125206" y="4522943"/>
        <a:ext cx="4165720" cy="516178"/>
      </dsp:txXfrm>
    </dsp:sp>
    <dsp:sp modelId="{B2179E82-4408-4AD9-B9D0-E9A7342A835A}">
      <dsp:nvSpPr>
        <dsp:cNvPr id="0" name=""/>
        <dsp:cNvSpPr/>
      </dsp:nvSpPr>
      <dsp:spPr>
        <a:xfrm>
          <a:off x="5125206" y="5168166"/>
          <a:ext cx="4165720" cy="516178"/>
        </a:xfrm>
        <a:prstGeom prst="rect">
          <a:avLst/>
        </a:prstGeom>
        <a:solidFill>
          <a:srgbClr val="743A1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0" i="0" u="none" kern="1200" dirty="0">
              <a:solidFill>
                <a:srgbClr val="FFFFFF"/>
              </a:solidFill>
            </a:rPr>
            <a:t>Salt content above threshold &gt;25ptb - EMERGING</a:t>
          </a:r>
          <a:endParaRPr lang="en-US" sz="1000" kern="1200" dirty="0">
            <a:solidFill>
              <a:srgbClr val="FFFFFF"/>
            </a:solidFill>
          </a:endParaRPr>
        </a:p>
      </dsp:txBody>
      <dsp:txXfrm>
        <a:off x="5125206" y="5168166"/>
        <a:ext cx="4165720" cy="516178"/>
      </dsp:txXfrm>
    </dsp:sp>
    <dsp:sp modelId="{BFB384C6-3F40-4D90-84D7-656E9B77EB4D}">
      <dsp:nvSpPr>
        <dsp:cNvPr id="0" name=""/>
        <dsp:cNvSpPr/>
      </dsp:nvSpPr>
      <dsp:spPr>
        <a:xfrm>
          <a:off x="2362597" y="5813390"/>
          <a:ext cx="2423995" cy="516178"/>
        </a:xfrm>
        <a:prstGeom prst="rect">
          <a:avLst/>
        </a:prstGeom>
        <a:solidFill>
          <a:srgbClr val="743A1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US" sz="1050" b="0" i="0" u="none" kern="1200" dirty="0">
              <a:solidFill>
                <a:srgbClr val="FFFFFF"/>
              </a:solidFill>
            </a:rPr>
            <a:t>5.Pressure restriction in incoming lines – BOGT</a:t>
          </a:r>
          <a:endParaRPr lang="en-US" sz="1050" kern="1200" dirty="0">
            <a:solidFill>
              <a:srgbClr val="FFFFFF"/>
            </a:solidFill>
          </a:endParaRPr>
        </a:p>
      </dsp:txBody>
      <dsp:txXfrm>
        <a:off x="2362597" y="5813390"/>
        <a:ext cx="2423995" cy="516178"/>
      </dsp:txXfrm>
    </dsp:sp>
    <dsp:sp modelId="{56D07DED-961B-4719-9669-C1C50277EF5F}">
      <dsp:nvSpPr>
        <dsp:cNvPr id="0" name=""/>
        <dsp:cNvSpPr/>
      </dsp:nvSpPr>
      <dsp:spPr>
        <a:xfrm>
          <a:off x="5125206" y="5813390"/>
          <a:ext cx="4165720" cy="516178"/>
        </a:xfrm>
        <a:prstGeom prst="rect">
          <a:avLst/>
        </a:prstGeom>
        <a:solidFill>
          <a:srgbClr val="743A1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u="none" strike="noStrike" kern="1200" dirty="0">
              <a:solidFill>
                <a:srgbClr val="FFFFFF"/>
              </a:solidFill>
              <a:effectLst/>
            </a:rPr>
            <a:t>Suspected restriction in common header.</a:t>
          </a:r>
          <a:endParaRPr lang="en-US" sz="1000" kern="1200" dirty="0">
            <a:solidFill>
              <a:srgbClr val="FFFFFF"/>
            </a:solidFill>
          </a:endParaRPr>
        </a:p>
      </dsp:txBody>
      <dsp:txXfrm>
        <a:off x="5125206" y="5813390"/>
        <a:ext cx="4165720" cy="516178"/>
      </dsp:txXfrm>
    </dsp:sp>
  </dsp:spTree>
</dsp:drawing>
</file>

<file path=ppt/diagrams/layout1.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latin typeface="ShellMedium" panose="00000600000000000000" pitchFamily="50" charset="0"/>
            </a:endParaRP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C98B905-402B-4C15-B1F2-8839DDDBAD37}" type="datetimeFigureOut">
              <a:rPr lang="en-US" smtClean="0">
                <a:latin typeface="ShellMedium" panose="00000600000000000000" pitchFamily="50" charset="0"/>
              </a:rPr>
              <a:t>3/11/2024</a:t>
            </a:fld>
            <a:endParaRPr lang="en-US">
              <a:latin typeface="ShellMedium" panose="00000600000000000000" pitchFamily="50" charset="0"/>
            </a:endParaRP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latin typeface="ShellMedium" panose="00000600000000000000" pitchFamily="50" charset="0"/>
            </a:endParaRP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ShellMedium" panose="00000600000000000000" pitchFamily="50" charset="0"/>
            </a:endParaRP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54CE55A-60DD-44CF-8976-002C6E91A26C}" type="slidenum">
              <a:rPr lang="en-US" smtClean="0">
                <a:latin typeface="ShellMedium" panose="00000600000000000000" pitchFamily="50" charset="0"/>
              </a:rPr>
              <a:t>‹#›</a:t>
            </a:fld>
            <a:endParaRPr lang="en-US">
              <a:latin typeface="ShellMedium" panose="00000600000000000000" pitchFamily="50" charset="0"/>
            </a:endParaRPr>
          </a:p>
        </p:txBody>
      </p:sp>
    </p:spTree>
    <p:extLst>
      <p:ext uri="{BB962C8B-B14F-4D97-AF65-F5344CB8AC3E}">
        <p14:creationId xmlns:p14="http://schemas.microsoft.com/office/powerpoint/2010/main" val="2233257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pact – 7Mbudget figure less the actuals incurred in 2024 YTD less the estimated annual demurrage from slower loading with TCMS </a:t>
            </a:r>
          </a:p>
        </p:txBody>
      </p:sp>
      <p:sp>
        <p:nvSpPr>
          <p:cNvPr id="4" name="Slide Number Placeholder 3"/>
          <p:cNvSpPr>
            <a:spLocks noGrp="1"/>
          </p:cNvSpPr>
          <p:nvPr>
            <p:ph type="sldNum" sz="quarter" idx="5"/>
          </p:nvPr>
        </p:nvSpPr>
        <p:spPr/>
        <p:txBody>
          <a:bodyPr/>
          <a:lstStyle/>
          <a:p>
            <a:fld id="{C54CE55A-60DD-44CF-8976-002C6E91A26C}" type="slidenum">
              <a:rPr lang="en-US" smtClean="0">
                <a:latin typeface="ShellMedium" panose="00000600000000000000" pitchFamily="50" charset="0"/>
              </a:rPr>
              <a:t>3</a:t>
            </a:fld>
            <a:endParaRPr lang="en-US">
              <a:latin typeface="ShellMedium" panose="00000600000000000000" pitchFamily="50" charset="0"/>
            </a:endParaRPr>
          </a:p>
        </p:txBody>
      </p:sp>
    </p:spTree>
    <p:extLst>
      <p:ext uri="{BB962C8B-B14F-4D97-AF65-F5344CB8AC3E}">
        <p14:creationId xmlns:p14="http://schemas.microsoft.com/office/powerpoint/2010/main" val="14933707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4CE55A-60DD-44CF-8976-002C6E91A26C}" type="slidenum">
              <a:rPr lang="en-US" smtClean="0">
                <a:latin typeface="ShellMedium" panose="00000600000000000000" pitchFamily="50" charset="0"/>
              </a:rPr>
              <a:t>4</a:t>
            </a:fld>
            <a:endParaRPr lang="en-US">
              <a:latin typeface="ShellMedium" panose="00000600000000000000" pitchFamily="50" charset="0"/>
            </a:endParaRPr>
          </a:p>
        </p:txBody>
      </p:sp>
    </p:spTree>
    <p:extLst>
      <p:ext uri="{BB962C8B-B14F-4D97-AF65-F5344CB8AC3E}">
        <p14:creationId xmlns:p14="http://schemas.microsoft.com/office/powerpoint/2010/main" val="16173328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4CE55A-60DD-44CF-8976-002C6E91A26C}" type="slidenum">
              <a:rPr lang="en-US" smtClean="0">
                <a:latin typeface="ShellMedium" panose="00000600000000000000" pitchFamily="50" charset="0"/>
              </a:rPr>
              <a:t>5</a:t>
            </a:fld>
            <a:endParaRPr lang="en-US">
              <a:latin typeface="ShellMedium" panose="00000600000000000000" pitchFamily="50" charset="0"/>
            </a:endParaRPr>
          </a:p>
        </p:txBody>
      </p:sp>
    </p:spTree>
    <p:extLst>
      <p:ext uri="{BB962C8B-B14F-4D97-AF65-F5344CB8AC3E}">
        <p14:creationId xmlns:p14="http://schemas.microsoft.com/office/powerpoint/2010/main" val="6791402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ti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t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ti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ti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724"/>
            <a:ext cx="12193293" cy="6857276"/>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5840" y="517459"/>
            <a:ext cx="1887660" cy="1887660"/>
          </a:xfrm>
          <a:prstGeom prst="rect">
            <a:avLst/>
          </a:prstGeom>
          <a:ln>
            <a:noFill/>
          </a:ln>
        </p:spPr>
      </p:pic>
      <p:sp>
        <p:nvSpPr>
          <p:cNvPr id="28" name="Rectangle 2"/>
          <p:cNvSpPr>
            <a:spLocks noGrp="1" noChangeArrowheads="1"/>
          </p:cNvSpPr>
          <p:nvPr>
            <p:ph type="ctrTitle"/>
          </p:nvPr>
        </p:nvSpPr>
        <p:spPr>
          <a:xfrm>
            <a:off x="766800" y="2754403"/>
            <a:ext cx="9973373" cy="918000"/>
          </a:xfrm>
          <a:noFill/>
        </p:spPr>
        <p:txBody>
          <a:bodyPr lIns="0" tIns="0" rIns="0" anchor="b" anchorCtr="0"/>
          <a:lstStyle>
            <a:lvl1pPr>
              <a:lnSpc>
                <a:spcPct val="110000"/>
              </a:lnSpc>
              <a:defRPr sz="36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9" name="Rectangle 3"/>
          <p:cNvSpPr>
            <a:spLocks noGrp="1" noChangeArrowheads="1"/>
          </p:cNvSpPr>
          <p:nvPr>
            <p:ph type="subTitle" idx="1"/>
          </p:nvPr>
        </p:nvSpPr>
        <p:spPr>
          <a:xfrm>
            <a:off x="766800" y="3805856"/>
            <a:ext cx="9976548" cy="749808"/>
          </a:xfrm>
        </p:spPr>
        <p:txBody>
          <a:bodyPr anchor="t" anchorCtr="0"/>
          <a:lstStyle>
            <a:lvl1pPr marL="0" indent="0">
              <a:lnSpc>
                <a:spcPct val="100000"/>
              </a:lnSpc>
              <a:spcBef>
                <a:spcPct val="0"/>
              </a:spcBef>
              <a:spcAft>
                <a:spcPts val="0"/>
              </a:spcAft>
              <a:buFont typeface="Wingdings" pitchFamily="2" charset="2"/>
              <a:buNone/>
              <a:defRPr sz="2000" baseline="0">
                <a:solidFill>
                  <a:schemeClr val="tx1"/>
                </a:solidFill>
                <a:latin typeface="+mn-lt"/>
                <a:cs typeface="Arial" pitchFamily="34" charset="0"/>
              </a:defRPr>
            </a:lvl1pPr>
          </a:lstStyle>
          <a:p>
            <a:r>
              <a:rPr lang="en-US"/>
              <a:t>Click to edit Master subtitle style</a:t>
            </a:r>
            <a:endParaRPr lang="en-GB" dirty="0"/>
          </a:p>
        </p:txBody>
      </p:sp>
      <p:sp>
        <p:nvSpPr>
          <p:cNvPr id="32" name="Text Placeholder 31"/>
          <p:cNvSpPr>
            <a:spLocks noGrp="1"/>
          </p:cNvSpPr>
          <p:nvPr>
            <p:ph type="body" sz="quarter" idx="10" hasCustomPrompt="1"/>
          </p:nvPr>
        </p:nvSpPr>
        <p:spPr>
          <a:xfrm>
            <a:off x="766800" y="4832087"/>
            <a:ext cx="7871121" cy="237600"/>
          </a:xfrm>
        </p:spPr>
        <p:txBody>
          <a:bodyPr anchor="t" anchorCtr="0"/>
          <a:lstStyle>
            <a:lvl1pPr>
              <a:lnSpc>
                <a:spcPct val="100000"/>
              </a:lnSpc>
              <a:buNone/>
              <a:defRPr sz="1400">
                <a:solidFill>
                  <a:schemeClr val="tx1"/>
                </a:solidFill>
                <a:latin typeface="ShellHeavy" panose="00000700000000000000" pitchFamily="2" charset="0"/>
              </a:defRPr>
            </a:lvl1pPr>
          </a:lstStyle>
          <a:p>
            <a:pPr lvl="0"/>
            <a:r>
              <a:rPr lang="en-GB" dirty="0"/>
              <a:t>Click to insert Author’s Name</a:t>
            </a:r>
          </a:p>
        </p:txBody>
      </p:sp>
      <p:sp>
        <p:nvSpPr>
          <p:cNvPr id="33" name="Text Placeholder 31"/>
          <p:cNvSpPr>
            <a:spLocks noGrp="1"/>
          </p:cNvSpPr>
          <p:nvPr>
            <p:ph type="body" sz="quarter" idx="11" hasCustomPrompt="1"/>
          </p:nvPr>
        </p:nvSpPr>
        <p:spPr>
          <a:xfrm>
            <a:off x="766800" y="5083916"/>
            <a:ext cx="7871121" cy="237600"/>
          </a:xfrm>
        </p:spPr>
        <p:txBody>
          <a:bodyPr anchor="t" anchorCtr="0"/>
          <a:lstStyle>
            <a:lvl1pPr>
              <a:lnSpc>
                <a:spcPct val="100000"/>
              </a:lnSpc>
              <a:buNone/>
              <a:defRPr sz="1400">
                <a:solidFill>
                  <a:schemeClr val="tx1"/>
                </a:solidFill>
                <a:latin typeface="ShellMedium" panose="00000600000000000000" pitchFamily="2" charset="0"/>
              </a:defRPr>
            </a:lvl1pPr>
          </a:lstStyle>
          <a:p>
            <a:pPr lvl="0"/>
            <a:r>
              <a:rPr lang="en-GB" dirty="0"/>
              <a:t>Click to insert Role in Organisation</a:t>
            </a:r>
          </a:p>
        </p:txBody>
      </p:sp>
      <p:sp>
        <p:nvSpPr>
          <p:cNvPr id="24" name="Text Box 11" descr="&lt;COMPANY_NAME&gt;&#10;"/>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ShellMedium" panose="00000600000000000000" pitchFamily="50" charset="0"/>
                <a:cs typeface="Arial" pitchFamily="34" charset="0"/>
              </a:rPr>
              <a:t>SPDC</a:t>
            </a:r>
          </a:p>
        </p:txBody>
      </p:sp>
      <p:sp>
        <p:nvSpPr>
          <p:cNvPr id="2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8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Feb 2024</a:t>
            </a:r>
          </a:p>
        </p:txBody>
      </p:sp>
      <p:sp>
        <p:nvSpPr>
          <p:cNvPr id="8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a:t>
            </a:r>
          </a:p>
        </p:txBody>
      </p:sp>
    </p:spTree>
    <p:extLst>
      <p:ext uri="{BB962C8B-B14F-4D97-AF65-F5344CB8AC3E}">
        <p14:creationId xmlns:p14="http://schemas.microsoft.com/office/powerpoint/2010/main" val="2581674533"/>
      </p:ext>
    </p:extLst>
  </p:cSld>
  <p:clrMapOvr>
    <a:masterClrMapping/>
  </p:clrMapOvr>
  <p:transition/>
  <p:hf hdr="0" ftr="0"/>
  <p:extLst>
    <p:ext uri="{DCECCB84-F9BA-43D5-87BE-67443E8EF086}">
      <p15:sldGuideLst xmlns:p15="http://schemas.microsoft.com/office/powerpoint/2012/main">
        <p15:guide id="4" pos="7357">
          <p15:clr>
            <a:srgbClr val="FBAE40"/>
          </p15:clr>
        </p15:guide>
        <p15:guide id="5" pos="1121">
          <p15:clr>
            <a:srgbClr val="FBAE40"/>
          </p15:clr>
        </p15:guide>
        <p15:guide id="6" orient="horz" pos="4074">
          <p15:clr>
            <a:srgbClr val="FBAE40"/>
          </p15:clr>
        </p15:guide>
        <p15:guide id="7"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80802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dirty="0" smtClean="0">
                <a:latin typeface="+mj-lt"/>
              </a:defRPr>
            </a:lvl1pPr>
          </a:lstStyle>
          <a:p>
            <a:pPr lvl="0"/>
            <a:r>
              <a:rPr lang="en-US"/>
              <a:t>Click to edit Master title style</a:t>
            </a:r>
            <a:endParaRPr lang="en-GB" dirty="0"/>
          </a:p>
        </p:txBody>
      </p:sp>
      <p:sp>
        <p:nvSpPr>
          <p:cNvPr id="10" name="Content Placeholder 14"/>
          <p:cNvSpPr>
            <a:spLocks noGrp="1"/>
          </p:cNvSpPr>
          <p:nvPr>
            <p:ph sz="quarter" idx="13"/>
          </p:nvPr>
        </p:nvSpPr>
        <p:spPr>
          <a:xfrm>
            <a:off x="6472014" y="1688400"/>
            <a:ext cx="5207224" cy="4672970"/>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Bef>
                <a:spcPts val="0"/>
              </a:spcBef>
              <a:spcAft>
                <a:spcPts val="0"/>
              </a:spcAft>
              <a:buClr>
                <a:schemeClr val="accent2"/>
              </a:buClr>
              <a:buSzPct val="75000"/>
              <a:buFont typeface="Wingdings" panose="05000000000000000000" pitchFamily="2" charset="2"/>
              <a:buChar char="¢"/>
              <a:defRPr sz="1400"/>
            </a:lvl2pPr>
            <a:lvl3pPr marL="354200" indent="-177800">
              <a:lnSpc>
                <a:spcPct val="140000"/>
              </a:lnSpc>
              <a:spcBef>
                <a:spcPts val="0"/>
              </a:spcBef>
              <a:spcAft>
                <a:spcPts val="0"/>
              </a:spcAft>
              <a:buClr>
                <a:schemeClr val="accent2"/>
              </a:buClr>
              <a:buFont typeface="Wingdings" panose="05000000000000000000" pitchFamily="2" charset="2"/>
              <a:buChar char=""/>
              <a:defRPr sz="1400"/>
            </a:lvl3pPr>
            <a:lvl4pPr marL="532000" indent="-177800">
              <a:lnSpc>
                <a:spcPct val="140000"/>
              </a:lnSpc>
              <a:spcBef>
                <a:spcPts val="0"/>
              </a:spcBef>
              <a:spcAft>
                <a:spcPts val="0"/>
              </a:spcAft>
              <a:buClr>
                <a:schemeClr val="tx1"/>
              </a:buClr>
              <a:buFont typeface="Wingdings" panose="05000000000000000000" pitchFamily="2" charset="2"/>
              <a:buChar char=""/>
              <a:defRPr sz="1400"/>
            </a:lvl4pPr>
            <a:lvl5pPr marL="684400" indent="-152400">
              <a:lnSpc>
                <a:spcPct val="140000"/>
              </a:lnSpc>
              <a:spcBef>
                <a:spcPts val="0"/>
              </a:spcBef>
              <a:spcAft>
                <a:spcPts val="0"/>
              </a:spcAft>
              <a:buClr>
                <a:schemeClr val="tx1"/>
              </a:buClr>
              <a:buFont typeface="Wingdings" panose="05000000000000000000" pitchFamily="2" charset="2"/>
              <a:buChar char=""/>
              <a:defRPr sz="1200"/>
            </a:lvl5pPr>
            <a:lvl6pPr marL="824100" indent="-139700">
              <a:lnSpc>
                <a:spcPct val="140000"/>
              </a:lnSpc>
              <a:spcBef>
                <a:spcPts val="0"/>
              </a:spcBef>
              <a:spcAft>
                <a:spcPts val="0"/>
              </a:spcAft>
              <a:buClr>
                <a:schemeClr val="tx1"/>
              </a:buClr>
              <a:buFont typeface="Wingdings" panose="05000000000000000000" pitchFamily="2" charset="2"/>
              <a:buChar char=""/>
              <a:tabLst/>
              <a:defRPr sz="11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765174" y="1686554"/>
            <a:ext cx="5211763" cy="4672971"/>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Aft>
                <a:spcPts val="0"/>
              </a:spcAft>
              <a:buClr>
                <a:schemeClr val="accent2"/>
              </a:buClr>
              <a:buSzPct val="75000"/>
              <a:buFont typeface="Wingdings" panose="05000000000000000000" pitchFamily="2" charset="2"/>
              <a:buChar char="¢"/>
              <a:defRPr sz="1400"/>
            </a:lvl2pPr>
            <a:lvl3pPr marL="354200" indent="-177800">
              <a:lnSpc>
                <a:spcPct val="140000"/>
              </a:lnSpc>
              <a:spcAft>
                <a:spcPts val="0"/>
              </a:spcAft>
              <a:buClr>
                <a:schemeClr val="accent2"/>
              </a:buClr>
              <a:buFont typeface="Wingdings" panose="05000000000000000000" pitchFamily="2" charset="2"/>
              <a:buChar char=""/>
              <a:defRPr sz="1400"/>
            </a:lvl3pPr>
            <a:lvl4pPr marL="532000" indent="-177800">
              <a:lnSpc>
                <a:spcPct val="140000"/>
              </a:lnSpc>
              <a:spcAft>
                <a:spcPts val="0"/>
              </a:spcAft>
              <a:buClr>
                <a:schemeClr val="tx1"/>
              </a:buClr>
              <a:buFont typeface="Wingdings" panose="05000000000000000000" pitchFamily="2" charset="2"/>
              <a:buChar char=""/>
              <a:defRPr sz="1400"/>
            </a:lvl4pPr>
            <a:lvl5pPr marL="684400" indent="-152400">
              <a:lnSpc>
                <a:spcPct val="140000"/>
              </a:lnSpc>
              <a:spcBef>
                <a:spcPts val="0"/>
              </a:spcBef>
              <a:spcAft>
                <a:spcPts val="0"/>
              </a:spcAft>
              <a:buClr>
                <a:schemeClr val="tx1"/>
              </a:buClr>
              <a:buFont typeface="Wingdings" panose="05000000000000000000" pitchFamily="2" charset="2"/>
              <a:buChar char=""/>
              <a:defRPr sz="1200"/>
            </a:lvl5pPr>
            <a:lvl6pPr marL="824100" indent="-139700">
              <a:lnSpc>
                <a:spcPct val="140000"/>
              </a:lnSpc>
              <a:spcBef>
                <a:spcPts val="0"/>
              </a:spcBef>
              <a:spcAft>
                <a:spcPts val="0"/>
              </a:spcAft>
              <a:buClr>
                <a:schemeClr val="tx1"/>
              </a:buClr>
              <a:buFont typeface="Wingdings" panose="05000000000000000000" pitchFamily="2" charset="2"/>
              <a:buChar char=""/>
              <a:defRPr sz="11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Feb 2024</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a:t>
            </a:r>
          </a:p>
        </p:txBody>
      </p:sp>
    </p:spTree>
    <p:extLst>
      <p:ext uri="{BB962C8B-B14F-4D97-AF65-F5344CB8AC3E}">
        <p14:creationId xmlns:p14="http://schemas.microsoft.com/office/powerpoint/2010/main" val="3924559399"/>
      </p:ext>
    </p:extLst>
  </p:cSld>
  <p:clrMapOvr>
    <a:masterClrMapping/>
  </p:clrMapOvr>
  <p:transition/>
  <p:hf hdr="0" ftr="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ext and Content">
    <p:spTree>
      <p:nvGrpSpPr>
        <p:cNvPr id="1" name=""/>
        <p:cNvGrpSpPr/>
        <p:nvPr/>
      </p:nvGrpSpPr>
      <p:grpSpPr>
        <a:xfrm>
          <a:off x="0" y="0"/>
          <a:ext cx="0" cy="0"/>
          <a:chOff x="0" y="0"/>
          <a:chExt cx="0" cy="0"/>
        </a:xfrm>
      </p:grpSpPr>
      <p:sp>
        <p:nvSpPr>
          <p:cNvPr id="9" name="Picture Placeholder 2"/>
          <p:cNvSpPr>
            <a:spLocks noGrp="1"/>
          </p:cNvSpPr>
          <p:nvPr>
            <p:ph type="pic" sz="quarter" idx="12"/>
          </p:nvPr>
        </p:nvSpPr>
        <p:spPr bwMode="auto">
          <a:xfrm>
            <a:off x="5047384" y="0"/>
            <a:ext cx="7144616" cy="6857999"/>
          </a:xfrm>
          <a:custGeom>
            <a:avLst/>
            <a:gdLst>
              <a:gd name="connsiteX0" fmla="*/ 0 w 7141676"/>
              <a:gd name="connsiteY0" fmla="*/ 0 h 6316132"/>
              <a:gd name="connsiteX1" fmla="*/ 7141676 w 7141676"/>
              <a:gd name="connsiteY1" fmla="*/ 0 h 6316132"/>
              <a:gd name="connsiteX2" fmla="*/ 7141676 w 7141676"/>
              <a:gd name="connsiteY2" fmla="*/ 6316132 h 6316132"/>
              <a:gd name="connsiteX3" fmla="*/ 0 w 7141676"/>
              <a:gd name="connsiteY3" fmla="*/ 6316132 h 6316132"/>
              <a:gd name="connsiteX4" fmla="*/ 0 w 7141676"/>
              <a:gd name="connsiteY4" fmla="*/ 0 h 6316132"/>
              <a:gd name="connsiteX0" fmla="*/ 2940 w 7144616"/>
              <a:gd name="connsiteY0" fmla="*/ 0 h 6316132"/>
              <a:gd name="connsiteX1" fmla="*/ 7144616 w 7144616"/>
              <a:gd name="connsiteY1" fmla="*/ 0 h 6316132"/>
              <a:gd name="connsiteX2" fmla="*/ 7144616 w 7144616"/>
              <a:gd name="connsiteY2" fmla="*/ 6316132 h 6316132"/>
              <a:gd name="connsiteX3" fmla="*/ 2940 w 7144616"/>
              <a:gd name="connsiteY3" fmla="*/ 6316132 h 6316132"/>
              <a:gd name="connsiteX4" fmla="*/ 0 w 7144616"/>
              <a:gd name="connsiteY4" fmla="*/ 5779942 h 6316132"/>
              <a:gd name="connsiteX5" fmla="*/ 2940 w 7144616"/>
              <a:gd name="connsiteY5" fmla="*/ 0 h 6316132"/>
              <a:gd name="connsiteX0" fmla="*/ 2940 w 7144616"/>
              <a:gd name="connsiteY0" fmla="*/ 0 h 6316773"/>
              <a:gd name="connsiteX1" fmla="*/ 7144616 w 7144616"/>
              <a:gd name="connsiteY1" fmla="*/ 0 h 6316773"/>
              <a:gd name="connsiteX2" fmla="*/ 7144616 w 7144616"/>
              <a:gd name="connsiteY2" fmla="*/ 6316132 h 6316773"/>
              <a:gd name="connsiteX3" fmla="*/ 537870 w 7144616"/>
              <a:gd name="connsiteY3" fmla="*/ 6316773 h 6316773"/>
              <a:gd name="connsiteX4" fmla="*/ 2940 w 7144616"/>
              <a:gd name="connsiteY4" fmla="*/ 6316132 h 6316773"/>
              <a:gd name="connsiteX5" fmla="*/ 0 w 7144616"/>
              <a:gd name="connsiteY5" fmla="*/ 5779942 h 6316773"/>
              <a:gd name="connsiteX6" fmla="*/ 2940 w 7144616"/>
              <a:gd name="connsiteY6" fmla="*/ 0 h 6316773"/>
              <a:gd name="connsiteX0" fmla="*/ 2940 w 7144616"/>
              <a:gd name="connsiteY0" fmla="*/ 0 h 6316773"/>
              <a:gd name="connsiteX1" fmla="*/ 7144616 w 7144616"/>
              <a:gd name="connsiteY1" fmla="*/ 0 h 6316773"/>
              <a:gd name="connsiteX2" fmla="*/ 7144616 w 7144616"/>
              <a:gd name="connsiteY2" fmla="*/ 6316132 h 6316773"/>
              <a:gd name="connsiteX3" fmla="*/ 537870 w 7144616"/>
              <a:gd name="connsiteY3" fmla="*/ 6316773 h 6316773"/>
              <a:gd name="connsiteX4" fmla="*/ 0 w 7144616"/>
              <a:gd name="connsiteY4" fmla="*/ 5779942 h 6316773"/>
              <a:gd name="connsiteX5" fmla="*/ 2940 w 7144616"/>
              <a:gd name="connsiteY5" fmla="*/ 0 h 6316773"/>
              <a:gd name="connsiteX0" fmla="*/ 2940 w 7144616"/>
              <a:gd name="connsiteY0" fmla="*/ 0 h 6316773"/>
              <a:gd name="connsiteX1" fmla="*/ 7144616 w 7144616"/>
              <a:gd name="connsiteY1" fmla="*/ 0 h 6316773"/>
              <a:gd name="connsiteX2" fmla="*/ 7144616 w 7144616"/>
              <a:gd name="connsiteY2" fmla="*/ 6316132 h 6316773"/>
              <a:gd name="connsiteX3" fmla="*/ 537870 w 7144616"/>
              <a:gd name="connsiteY3" fmla="*/ 6316773 h 6316773"/>
              <a:gd name="connsiteX4" fmla="*/ 0 w 7144616"/>
              <a:gd name="connsiteY4" fmla="*/ 5779942 h 6316773"/>
              <a:gd name="connsiteX5" fmla="*/ 2940 w 7144616"/>
              <a:gd name="connsiteY5" fmla="*/ 0 h 6316773"/>
              <a:gd name="connsiteX0" fmla="*/ 2940 w 7144616"/>
              <a:gd name="connsiteY0" fmla="*/ 0 h 6316773"/>
              <a:gd name="connsiteX1" fmla="*/ 7144616 w 7144616"/>
              <a:gd name="connsiteY1" fmla="*/ 0 h 6316773"/>
              <a:gd name="connsiteX2" fmla="*/ 7144616 w 7144616"/>
              <a:gd name="connsiteY2" fmla="*/ 6316132 h 6316773"/>
              <a:gd name="connsiteX3" fmla="*/ 537870 w 7144616"/>
              <a:gd name="connsiteY3" fmla="*/ 6316773 h 6316773"/>
              <a:gd name="connsiteX4" fmla="*/ 0 w 7144616"/>
              <a:gd name="connsiteY4" fmla="*/ 5779942 h 6316773"/>
              <a:gd name="connsiteX5" fmla="*/ 2940 w 7144616"/>
              <a:gd name="connsiteY5" fmla="*/ 0 h 6316773"/>
              <a:gd name="connsiteX0" fmla="*/ 2940 w 7144616"/>
              <a:gd name="connsiteY0" fmla="*/ 0 h 6317008"/>
              <a:gd name="connsiteX1" fmla="*/ 7144616 w 7144616"/>
              <a:gd name="connsiteY1" fmla="*/ 0 h 6317008"/>
              <a:gd name="connsiteX2" fmla="*/ 7144616 w 7144616"/>
              <a:gd name="connsiteY2" fmla="*/ 6316132 h 6317008"/>
              <a:gd name="connsiteX3" fmla="*/ 537870 w 7144616"/>
              <a:gd name="connsiteY3" fmla="*/ 6316773 h 6317008"/>
              <a:gd name="connsiteX4" fmla="*/ 0 w 7144616"/>
              <a:gd name="connsiteY4" fmla="*/ 5779942 h 6317008"/>
              <a:gd name="connsiteX5" fmla="*/ 2940 w 7144616"/>
              <a:gd name="connsiteY5" fmla="*/ 0 h 6317008"/>
              <a:gd name="connsiteX0" fmla="*/ 2940 w 7144616"/>
              <a:gd name="connsiteY0" fmla="*/ 0 h 6316773"/>
              <a:gd name="connsiteX1" fmla="*/ 7144616 w 7144616"/>
              <a:gd name="connsiteY1" fmla="*/ 0 h 6316773"/>
              <a:gd name="connsiteX2" fmla="*/ 7144616 w 7144616"/>
              <a:gd name="connsiteY2" fmla="*/ 6316132 h 6316773"/>
              <a:gd name="connsiteX3" fmla="*/ 537870 w 7144616"/>
              <a:gd name="connsiteY3" fmla="*/ 6316773 h 6316773"/>
              <a:gd name="connsiteX4" fmla="*/ 0 w 7144616"/>
              <a:gd name="connsiteY4" fmla="*/ 5779942 h 6316773"/>
              <a:gd name="connsiteX5" fmla="*/ 2940 w 7144616"/>
              <a:gd name="connsiteY5" fmla="*/ 0 h 6316773"/>
              <a:gd name="connsiteX0" fmla="*/ 2940 w 7144616"/>
              <a:gd name="connsiteY0" fmla="*/ 0 h 6316773"/>
              <a:gd name="connsiteX1" fmla="*/ 7144616 w 7144616"/>
              <a:gd name="connsiteY1" fmla="*/ 0 h 6316773"/>
              <a:gd name="connsiteX2" fmla="*/ 7144616 w 7144616"/>
              <a:gd name="connsiteY2" fmla="*/ 6316132 h 6316773"/>
              <a:gd name="connsiteX3" fmla="*/ 537870 w 7144616"/>
              <a:gd name="connsiteY3" fmla="*/ 6316773 h 6316773"/>
              <a:gd name="connsiteX4" fmla="*/ 0 w 7144616"/>
              <a:gd name="connsiteY4" fmla="*/ 5779942 h 6316773"/>
              <a:gd name="connsiteX5" fmla="*/ 2940 w 7144616"/>
              <a:gd name="connsiteY5" fmla="*/ 0 h 6316773"/>
              <a:gd name="connsiteX0" fmla="*/ 2940 w 7144616"/>
              <a:gd name="connsiteY0" fmla="*/ 0 h 6316773"/>
              <a:gd name="connsiteX1" fmla="*/ 7144616 w 7144616"/>
              <a:gd name="connsiteY1" fmla="*/ 0 h 6316773"/>
              <a:gd name="connsiteX2" fmla="*/ 7144616 w 7144616"/>
              <a:gd name="connsiteY2" fmla="*/ 6316132 h 6316773"/>
              <a:gd name="connsiteX3" fmla="*/ 537870 w 7144616"/>
              <a:gd name="connsiteY3" fmla="*/ 6316773 h 6316773"/>
              <a:gd name="connsiteX4" fmla="*/ 0 w 7144616"/>
              <a:gd name="connsiteY4" fmla="*/ 5779942 h 6316773"/>
              <a:gd name="connsiteX5" fmla="*/ 2940 w 7144616"/>
              <a:gd name="connsiteY5" fmla="*/ 0 h 6316773"/>
              <a:gd name="connsiteX0" fmla="*/ 2940 w 7144616"/>
              <a:gd name="connsiteY0" fmla="*/ 0 h 6316773"/>
              <a:gd name="connsiteX1" fmla="*/ 7144616 w 7144616"/>
              <a:gd name="connsiteY1" fmla="*/ 0 h 6316773"/>
              <a:gd name="connsiteX2" fmla="*/ 7144616 w 7144616"/>
              <a:gd name="connsiteY2" fmla="*/ 6316132 h 6316773"/>
              <a:gd name="connsiteX3" fmla="*/ 537870 w 7144616"/>
              <a:gd name="connsiteY3" fmla="*/ 6316773 h 6316773"/>
              <a:gd name="connsiteX4" fmla="*/ 0 w 7144616"/>
              <a:gd name="connsiteY4" fmla="*/ 5779942 h 6316773"/>
              <a:gd name="connsiteX5" fmla="*/ 2940 w 7144616"/>
              <a:gd name="connsiteY5" fmla="*/ 0 h 631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44616" h="6316773">
                <a:moveTo>
                  <a:pt x="2940" y="0"/>
                </a:moveTo>
                <a:lnTo>
                  <a:pt x="7144616" y="0"/>
                </a:lnTo>
                <a:lnTo>
                  <a:pt x="7144616" y="6316132"/>
                </a:lnTo>
                <a:lnTo>
                  <a:pt x="537870" y="6316773"/>
                </a:lnTo>
                <a:cubicBezTo>
                  <a:pt x="214457" y="6313295"/>
                  <a:pt x="5024" y="6140981"/>
                  <a:pt x="0" y="5779942"/>
                </a:cubicBezTo>
                <a:lnTo>
                  <a:pt x="2940" y="0"/>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sp>
        <p:nvSpPr>
          <p:cNvPr id="34" name="Rectangle 2"/>
          <p:cNvSpPr>
            <a:spLocks noGrp="1" noChangeArrowheads="1"/>
          </p:cNvSpPr>
          <p:nvPr>
            <p:ph type="title"/>
          </p:nvPr>
        </p:nvSpPr>
        <p:spPr bwMode="auto">
          <a:xfrm>
            <a:off x="508000" y="712800"/>
            <a:ext cx="4425244" cy="80802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0" kern="1200" cap="none" baseline="0" noProof="0" dirty="0" smtClean="0">
                <a:solidFill>
                  <a:schemeClr val="tx1"/>
                </a:solidFill>
                <a:latin typeface="+mj-lt"/>
                <a:ea typeface="+mj-ea"/>
                <a:cs typeface="+mj-cs"/>
              </a:defRPr>
            </a:lvl1pPr>
          </a:lstStyle>
          <a:p>
            <a:pPr lvl="0"/>
            <a:r>
              <a:rPr lang="en-US"/>
              <a:t>Click to edit Master title style</a:t>
            </a:r>
            <a:endParaRPr lang="en-GB" dirty="0"/>
          </a:p>
        </p:txBody>
      </p:sp>
      <p:sp>
        <p:nvSpPr>
          <p:cNvPr id="12" name="Text Placeholder 43"/>
          <p:cNvSpPr>
            <a:spLocks noGrp="1"/>
          </p:cNvSpPr>
          <p:nvPr>
            <p:ph type="body" sz="quarter" idx="11"/>
          </p:nvPr>
        </p:nvSpPr>
        <p:spPr>
          <a:xfrm>
            <a:off x="765175" y="1665286"/>
            <a:ext cx="3829404" cy="4694239"/>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75000"/>
              <a:buFont typeface="Wingdings" panose="05000000000000000000" pitchFamily="2" charset="2"/>
              <a:buChar char=""/>
              <a:defRPr sz="1800"/>
            </a:lvl2pPr>
            <a:lvl3pPr marL="459000" indent="-228600">
              <a:spcAft>
                <a:spcPts val="0"/>
              </a:spcAft>
              <a:buClr>
                <a:schemeClr val="accent2"/>
              </a:buClr>
              <a:buFont typeface="Wingdings" panose="05000000000000000000" pitchFamily="2" charset="2"/>
              <a:buChar char=""/>
              <a:defRPr sz="1800"/>
            </a:lvl3pPr>
            <a:lvl4pPr marL="687600" indent="-228600">
              <a:spcBef>
                <a:spcPts val="0"/>
              </a:spcBef>
              <a:spcAft>
                <a:spcPts val="0"/>
              </a:spcAft>
              <a:buClr>
                <a:schemeClr val="tx1"/>
              </a:buClr>
              <a:buFont typeface="Wingdings" panose="05000000000000000000" pitchFamily="2" charset="2"/>
              <a:buChar char=""/>
              <a:defRPr sz="1800"/>
            </a:lvl4pPr>
            <a:lvl5pPr marL="890800" indent="-203200">
              <a:spcBef>
                <a:spcPts val="0"/>
              </a:spcBef>
              <a:spcAft>
                <a:spcPts val="0"/>
              </a:spcAft>
              <a:buClr>
                <a:schemeClr val="tx1"/>
              </a:buClr>
              <a:buFont typeface="Wingdings" panose="05000000000000000000" pitchFamily="2" charset="2"/>
              <a:buChar char=""/>
              <a:defRPr sz="1600"/>
            </a:lvl5pPr>
            <a:lvl6pPr marL="1043200" indent="-152400">
              <a:spcBef>
                <a:spcPts val="0"/>
              </a:spcBef>
              <a:spcAft>
                <a:spcPts val="0"/>
              </a:spcAft>
              <a:buClr>
                <a:schemeClr val="tx1"/>
              </a:buClr>
              <a:buFont typeface="Wingdings" panose="05000000000000000000"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Feb 2024</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a:t>
            </a:r>
          </a:p>
        </p:txBody>
      </p:sp>
    </p:spTree>
    <p:extLst>
      <p:ext uri="{BB962C8B-B14F-4D97-AF65-F5344CB8AC3E}">
        <p14:creationId xmlns:p14="http://schemas.microsoft.com/office/powerpoint/2010/main" val="2880822831"/>
      </p:ext>
    </p:extLst>
  </p:cSld>
  <p:clrMapOvr>
    <a:masterClrMapping/>
  </p:clrMapOvr>
  <p:transition/>
  <p:hf hdr="0" ftr="0"/>
  <p:extLst>
    <p:ext uri="{DCECCB84-F9BA-43D5-87BE-67443E8EF086}">
      <p15:sldGuideLst xmlns:p15="http://schemas.microsoft.com/office/powerpoint/2012/main">
        <p15:guide id="1" pos="3840">
          <p15:clr>
            <a:srgbClr val="FBAE40"/>
          </p15:clr>
        </p15:guide>
        <p15:guide id="2" pos="3765">
          <p15:clr>
            <a:srgbClr val="FBAE40"/>
          </p15:clr>
        </p15:guide>
        <p15:guide id="3" pos="391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850" cap="none" baseline="0">
                <a:solidFill>
                  <a:schemeClr val="tx1"/>
                </a:solidFill>
                <a:latin typeface="ShellMedium" panose="00000600000000000000" pitchFamily="50" charset="0"/>
              </a:defRPr>
            </a:lvl1pPr>
          </a:lstStyle>
          <a:p>
            <a:pPr lvl="0"/>
            <a:r>
              <a:rPr lang="en-GB" dirty="0"/>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atin typeface="+mj-lt"/>
              </a:defRPr>
            </a:lvl1pPr>
          </a:lstStyle>
          <a:p>
            <a:pPr lvl="0"/>
            <a:r>
              <a:rPr lang="en-US" noProof="0"/>
              <a:t>Click to edit Master title style</a:t>
            </a:r>
            <a:endParaRPr lang="en-GB" noProof="0" dirty="0"/>
          </a:p>
        </p:txBody>
      </p:sp>
      <p:sp>
        <p:nvSpPr>
          <p:cNvPr id="40" name="Content Placeholder 51"/>
          <p:cNvSpPr>
            <a:spLocks noGrp="1"/>
          </p:cNvSpPr>
          <p:nvPr>
            <p:ph sz="quarter" idx="46" hasCustomPrompt="1"/>
          </p:nvPr>
        </p:nvSpPr>
        <p:spPr>
          <a:xfrm>
            <a:off x="508000" y="4116538"/>
            <a:ext cx="5468938" cy="256352"/>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sp>
        <p:nvSpPr>
          <p:cNvPr id="42" name="Chart Placeholder 16"/>
          <p:cNvSpPr>
            <a:spLocks noGrp="1"/>
          </p:cNvSpPr>
          <p:nvPr>
            <p:ph type="chart" sz="quarter" idx="47"/>
          </p:nvPr>
        </p:nvSpPr>
        <p:spPr>
          <a:xfrm>
            <a:off x="508000" y="4456229"/>
            <a:ext cx="5468938" cy="1623641"/>
          </a:xfrm>
        </p:spPr>
        <p:txBody>
          <a:bodyPr>
            <a:normAutofit/>
          </a:bodyPr>
          <a:lstStyle>
            <a:lvl1pPr>
              <a:defRPr sz="1400">
                <a:solidFill>
                  <a:schemeClr val="tx1"/>
                </a:solidFill>
                <a:latin typeface="+mn-lt"/>
              </a:defRPr>
            </a:lvl1pPr>
          </a:lstStyle>
          <a:p>
            <a:r>
              <a:rPr lang="en-US"/>
              <a:t>Click icon to add chart</a:t>
            </a:r>
            <a:endParaRPr lang="nl-NL" dirty="0"/>
          </a:p>
        </p:txBody>
      </p:sp>
      <p:sp>
        <p:nvSpPr>
          <p:cNvPr id="100" name="Content Placeholder 51"/>
          <p:cNvSpPr>
            <a:spLocks noGrp="1"/>
          </p:cNvSpPr>
          <p:nvPr>
            <p:ph sz="quarter" idx="55" hasCustomPrompt="1"/>
          </p:nvPr>
        </p:nvSpPr>
        <p:spPr>
          <a:xfrm>
            <a:off x="508000" y="1780690"/>
            <a:ext cx="5468938" cy="256352"/>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sp>
        <p:nvSpPr>
          <p:cNvPr id="102" name="Chart Placeholder 16"/>
          <p:cNvSpPr>
            <a:spLocks noGrp="1"/>
          </p:cNvSpPr>
          <p:nvPr>
            <p:ph type="chart" sz="quarter" idx="56"/>
          </p:nvPr>
        </p:nvSpPr>
        <p:spPr>
          <a:xfrm>
            <a:off x="508000" y="2120382"/>
            <a:ext cx="5468938" cy="1623641"/>
          </a:xfrm>
        </p:spPr>
        <p:txBody>
          <a:bodyPr>
            <a:normAutofit/>
          </a:bodyPr>
          <a:lstStyle>
            <a:lvl1pPr>
              <a:defRPr sz="1400">
                <a:solidFill>
                  <a:schemeClr val="tx1"/>
                </a:solidFill>
                <a:latin typeface="+mn-lt"/>
              </a:defRPr>
            </a:lvl1pPr>
          </a:lstStyle>
          <a:p>
            <a:r>
              <a:rPr lang="en-US"/>
              <a:t>Click icon to add chart</a:t>
            </a:r>
            <a:endParaRPr lang="nl-NL" dirty="0"/>
          </a:p>
        </p:txBody>
      </p:sp>
      <p:sp>
        <p:nvSpPr>
          <p:cNvPr id="105" name="Content Placeholder 51"/>
          <p:cNvSpPr>
            <a:spLocks noGrp="1"/>
          </p:cNvSpPr>
          <p:nvPr>
            <p:ph sz="quarter" idx="58" hasCustomPrompt="1"/>
          </p:nvPr>
        </p:nvSpPr>
        <p:spPr>
          <a:xfrm>
            <a:off x="6215063" y="4116538"/>
            <a:ext cx="5464175" cy="256352"/>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sp>
        <p:nvSpPr>
          <p:cNvPr id="107" name="Chart Placeholder 16"/>
          <p:cNvSpPr>
            <a:spLocks noGrp="1"/>
          </p:cNvSpPr>
          <p:nvPr>
            <p:ph type="chart" sz="quarter" idx="59"/>
          </p:nvPr>
        </p:nvSpPr>
        <p:spPr>
          <a:xfrm>
            <a:off x="6215063" y="4456229"/>
            <a:ext cx="5464175" cy="1623641"/>
          </a:xfrm>
        </p:spPr>
        <p:txBody>
          <a:bodyPr>
            <a:normAutofit/>
          </a:bodyPr>
          <a:lstStyle>
            <a:lvl1pPr>
              <a:defRPr sz="1400">
                <a:solidFill>
                  <a:schemeClr val="tx1"/>
                </a:solidFill>
                <a:latin typeface="+mn-lt"/>
              </a:defRPr>
            </a:lvl1pPr>
          </a:lstStyle>
          <a:p>
            <a:r>
              <a:rPr lang="en-US"/>
              <a:t>Click icon to add chart</a:t>
            </a:r>
            <a:endParaRPr lang="nl-NL" dirty="0"/>
          </a:p>
        </p:txBody>
      </p:sp>
      <p:sp>
        <p:nvSpPr>
          <p:cNvPr id="110" name="Content Placeholder 51"/>
          <p:cNvSpPr>
            <a:spLocks noGrp="1"/>
          </p:cNvSpPr>
          <p:nvPr>
            <p:ph sz="quarter" idx="61" hasCustomPrompt="1"/>
          </p:nvPr>
        </p:nvSpPr>
        <p:spPr>
          <a:xfrm>
            <a:off x="6215063" y="1780690"/>
            <a:ext cx="5464175" cy="256352"/>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sp>
        <p:nvSpPr>
          <p:cNvPr id="112" name="Chart Placeholder 16"/>
          <p:cNvSpPr>
            <a:spLocks noGrp="1"/>
          </p:cNvSpPr>
          <p:nvPr>
            <p:ph type="chart" sz="quarter" idx="62"/>
          </p:nvPr>
        </p:nvSpPr>
        <p:spPr>
          <a:xfrm>
            <a:off x="6215063" y="2120382"/>
            <a:ext cx="5464175" cy="1623641"/>
          </a:xfrm>
        </p:spPr>
        <p:txBody>
          <a:bodyPr>
            <a:normAutofit/>
          </a:bodyPr>
          <a:lstStyle>
            <a:lvl1pPr>
              <a:defRPr sz="1400">
                <a:solidFill>
                  <a:schemeClr val="tx1"/>
                </a:solidFill>
                <a:latin typeface="+mn-lt"/>
              </a:defRPr>
            </a:lvl1pPr>
          </a:lstStyle>
          <a:p>
            <a:r>
              <a:rPr lang="en-US"/>
              <a:t>Click icon to add chart</a:t>
            </a:r>
            <a:endParaRPr lang="nl-NL" dirty="0"/>
          </a:p>
        </p:txBody>
      </p: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Feb 2024</a:t>
            </a:r>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a:t>
            </a:r>
          </a:p>
        </p:txBody>
      </p:sp>
    </p:spTree>
    <p:extLst>
      <p:ext uri="{BB962C8B-B14F-4D97-AF65-F5344CB8AC3E}">
        <p14:creationId xmlns:p14="http://schemas.microsoft.com/office/powerpoint/2010/main" val="2253903529"/>
      </p:ext>
    </p:extLst>
  </p:cSld>
  <p:clrMapOvr>
    <a:masterClrMapping/>
  </p:clrMapOvr>
  <p:transition/>
  <p:hf hdr="0" ft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Graphs and Text">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850" cap="none" baseline="0">
                <a:solidFill>
                  <a:schemeClr val="tx1"/>
                </a:solidFill>
                <a:latin typeface="ShellMedium" panose="00000600000000000000" pitchFamily="50" charset="0"/>
              </a:defRPr>
            </a:lvl1pPr>
          </a:lstStyle>
          <a:p>
            <a:pPr lvl="0"/>
            <a:r>
              <a:rPr lang="en-GB" dirty="0"/>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atin typeface="+mj-lt"/>
              </a:defRPr>
            </a:lvl1pPr>
          </a:lstStyle>
          <a:p>
            <a:pPr lvl="0"/>
            <a:r>
              <a:rPr lang="en-US" noProof="0"/>
              <a:t>Click to edit Master title style</a:t>
            </a:r>
            <a:endParaRPr lang="en-GB" noProof="0" dirty="0"/>
          </a:p>
        </p:txBody>
      </p:sp>
      <p:sp>
        <p:nvSpPr>
          <p:cNvPr id="40" name="Content Placeholder 51"/>
          <p:cNvSpPr>
            <a:spLocks noGrp="1"/>
          </p:cNvSpPr>
          <p:nvPr>
            <p:ph sz="quarter" idx="46" hasCustomPrompt="1"/>
          </p:nvPr>
        </p:nvSpPr>
        <p:spPr>
          <a:xfrm>
            <a:off x="508000" y="4116538"/>
            <a:ext cx="5468938" cy="256352"/>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Subtitle appears here</a:t>
            </a:r>
          </a:p>
        </p:txBody>
      </p:sp>
      <p:sp>
        <p:nvSpPr>
          <p:cNvPr id="100" name="Content Placeholder 51"/>
          <p:cNvSpPr>
            <a:spLocks noGrp="1"/>
          </p:cNvSpPr>
          <p:nvPr>
            <p:ph sz="quarter" idx="55" hasCustomPrompt="1"/>
          </p:nvPr>
        </p:nvSpPr>
        <p:spPr>
          <a:xfrm>
            <a:off x="508000" y="1780690"/>
            <a:ext cx="5468938" cy="256352"/>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sp>
        <p:nvSpPr>
          <p:cNvPr id="102" name="Chart Placeholder 16"/>
          <p:cNvSpPr>
            <a:spLocks noGrp="1"/>
          </p:cNvSpPr>
          <p:nvPr>
            <p:ph type="chart" sz="quarter" idx="56"/>
          </p:nvPr>
        </p:nvSpPr>
        <p:spPr>
          <a:xfrm>
            <a:off x="508000" y="2120382"/>
            <a:ext cx="5468938" cy="1623641"/>
          </a:xfrm>
        </p:spPr>
        <p:txBody>
          <a:bodyPr>
            <a:normAutofit/>
          </a:bodyPr>
          <a:lstStyle>
            <a:lvl1pPr>
              <a:defRPr sz="1400">
                <a:solidFill>
                  <a:schemeClr val="tx1"/>
                </a:solidFill>
                <a:latin typeface="+mn-lt"/>
              </a:defRPr>
            </a:lvl1pPr>
          </a:lstStyle>
          <a:p>
            <a:r>
              <a:rPr lang="en-US"/>
              <a:t>Click icon to add chart</a:t>
            </a:r>
            <a:endParaRPr lang="nl-NL" dirty="0"/>
          </a:p>
        </p:txBody>
      </p:sp>
      <p:sp>
        <p:nvSpPr>
          <p:cNvPr id="105" name="Content Placeholder 51"/>
          <p:cNvSpPr>
            <a:spLocks noGrp="1"/>
          </p:cNvSpPr>
          <p:nvPr>
            <p:ph sz="quarter" idx="58" hasCustomPrompt="1"/>
          </p:nvPr>
        </p:nvSpPr>
        <p:spPr>
          <a:xfrm>
            <a:off x="6215063" y="4116538"/>
            <a:ext cx="5464175" cy="256352"/>
          </a:xfrm>
        </p:spPr>
        <p:txBody>
          <a:bodyPr vert="horz" wrap="square" lIns="0" tIns="0" rIns="0" bIns="0" rtlCol="0">
            <a:spAutoFit/>
          </a:bodyPr>
          <a:lstStyle>
            <a:lvl1pPr marL="0" indent="0" algn="l" defTabSz="1219170" rtl="0" eaLnBrk="1" latinLnBrk="0" hangingPunct="1">
              <a:lnSpc>
                <a:spcPct val="119000"/>
              </a:lnSpc>
              <a:spcBef>
                <a:spcPts val="0"/>
              </a:spcBef>
              <a:spcAft>
                <a:spcPts val="0"/>
              </a:spcAft>
              <a:buClr>
                <a:srgbClr val="F7D117"/>
              </a:buClr>
              <a:buSzPct val="120000"/>
              <a:buFont typeface="Wingdings" pitchFamily="2" charset="2"/>
              <a:buNone/>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Subtitle appears here</a:t>
            </a:r>
          </a:p>
        </p:txBody>
      </p:sp>
      <p:sp>
        <p:nvSpPr>
          <p:cNvPr id="110" name="Content Placeholder 51"/>
          <p:cNvSpPr>
            <a:spLocks noGrp="1"/>
          </p:cNvSpPr>
          <p:nvPr>
            <p:ph sz="quarter" idx="61" hasCustomPrompt="1"/>
          </p:nvPr>
        </p:nvSpPr>
        <p:spPr>
          <a:xfrm>
            <a:off x="6215063" y="1780690"/>
            <a:ext cx="5464175" cy="256352"/>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sp>
        <p:nvSpPr>
          <p:cNvPr id="112" name="Chart Placeholder 16"/>
          <p:cNvSpPr>
            <a:spLocks noGrp="1"/>
          </p:cNvSpPr>
          <p:nvPr>
            <p:ph type="chart" sz="quarter" idx="62"/>
          </p:nvPr>
        </p:nvSpPr>
        <p:spPr>
          <a:xfrm>
            <a:off x="6215063" y="2120382"/>
            <a:ext cx="5464175" cy="1623641"/>
          </a:xfrm>
        </p:spPr>
        <p:txBody>
          <a:bodyPr>
            <a:normAutofit/>
          </a:bodyPr>
          <a:lstStyle>
            <a:lvl1pPr>
              <a:defRPr sz="1400">
                <a:solidFill>
                  <a:schemeClr val="tx1"/>
                </a:solidFill>
                <a:latin typeface="+mn-lt"/>
              </a:defRPr>
            </a:lvl1pPr>
          </a:lstStyle>
          <a:p>
            <a:r>
              <a:rPr lang="en-US"/>
              <a:t>Click icon to add chart</a:t>
            </a:r>
            <a:endParaRPr lang="nl-NL" dirty="0"/>
          </a:p>
        </p:txBody>
      </p: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Feb 2024</a:t>
            </a:r>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a:t>
            </a:r>
          </a:p>
        </p:txBody>
      </p:sp>
      <p:sp>
        <p:nvSpPr>
          <p:cNvPr id="19" name="Content Placeholder 9"/>
          <p:cNvSpPr>
            <a:spLocks noGrp="1"/>
          </p:cNvSpPr>
          <p:nvPr>
            <p:ph sz="quarter" idx="11"/>
          </p:nvPr>
        </p:nvSpPr>
        <p:spPr>
          <a:xfrm>
            <a:off x="509312" y="4510882"/>
            <a:ext cx="5467626" cy="1568988"/>
          </a:xfrm>
        </p:spPr>
        <p:txBody>
          <a:bodyPr/>
          <a:lstStyle>
            <a:lvl1pPr marL="0" indent="0" defTabSz="357708">
              <a:lnSpc>
                <a:spcPct val="140000"/>
              </a:lnSpc>
              <a:spcBef>
                <a:spcPts val="0"/>
              </a:spcBef>
              <a:defRPr sz="1400"/>
            </a:lvl1pPr>
            <a:lvl2pPr marL="230400" indent="-230400" defTabSz="357708">
              <a:lnSpc>
                <a:spcPct val="140000"/>
              </a:lnSpc>
              <a:spcBef>
                <a:spcPts val="0"/>
              </a:spcBef>
              <a:defRPr sz="1400"/>
            </a:lvl2pPr>
            <a:lvl3pPr marL="459000" indent="-228600" defTabSz="357708">
              <a:lnSpc>
                <a:spcPct val="140000"/>
              </a:lnSpc>
              <a:spcBef>
                <a:spcPts val="0"/>
              </a:spcBef>
              <a:buClr>
                <a:schemeClr val="accent2"/>
              </a:buClr>
              <a:buSzPct val="100000"/>
              <a:buFont typeface="Wingdings" panose="05000000000000000000" pitchFamily="2" charset="2"/>
              <a:buChar char=""/>
              <a:defRPr sz="1400"/>
            </a:lvl3pPr>
            <a:lvl4pPr marL="687600" indent="-228600" defTabSz="357708">
              <a:lnSpc>
                <a:spcPct val="140000"/>
              </a:lnSpc>
              <a:spcBef>
                <a:spcPts val="0"/>
              </a:spcBef>
              <a:buClr>
                <a:schemeClr val="tx1"/>
              </a:buClr>
              <a:buSzPct val="100000"/>
              <a:buFont typeface="Wingdings" panose="05000000000000000000" pitchFamily="2" charset="2"/>
              <a:buChar char=""/>
              <a:defRPr sz="1200"/>
            </a:lvl4pPr>
            <a:lvl5pPr marL="890800" indent="-203200" defTabSz="357708">
              <a:lnSpc>
                <a:spcPct val="140000"/>
              </a:lnSpc>
              <a:spcBef>
                <a:spcPts val="0"/>
              </a:spcBef>
              <a:buClr>
                <a:schemeClr val="tx1"/>
              </a:buClr>
              <a:buSzPct val="100000"/>
              <a:buFont typeface="Wingdings" panose="05000000000000000000" pitchFamily="2" charset="2"/>
              <a:buChar char=""/>
              <a:defRPr sz="1100"/>
            </a:lvl5pPr>
            <a:lvl6pPr marL="1043200" indent="-152400" defTabSz="357708">
              <a:lnSpc>
                <a:spcPct val="140000"/>
              </a:lnSpc>
              <a:buClr>
                <a:schemeClr val="tx1"/>
              </a:buClr>
              <a:buSzPct val="100000"/>
              <a:buFont typeface="Wingdings" panose="05000000000000000000" pitchFamily="2" charset="2"/>
              <a:buChar char=""/>
              <a:defRPr sz="105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Content Placeholder 9"/>
          <p:cNvSpPr>
            <a:spLocks noGrp="1"/>
          </p:cNvSpPr>
          <p:nvPr>
            <p:ph sz="quarter" idx="63"/>
          </p:nvPr>
        </p:nvSpPr>
        <p:spPr>
          <a:xfrm>
            <a:off x="6215063" y="4510882"/>
            <a:ext cx="5467626" cy="1568988"/>
          </a:xfrm>
        </p:spPr>
        <p:txBody>
          <a:bodyPr/>
          <a:lstStyle>
            <a:lvl1pPr marL="0" indent="0" defTabSz="357708">
              <a:lnSpc>
                <a:spcPct val="140000"/>
              </a:lnSpc>
              <a:spcBef>
                <a:spcPts val="0"/>
              </a:spcBef>
              <a:defRPr sz="1400"/>
            </a:lvl1pPr>
            <a:lvl2pPr marL="230400" indent="-230400" defTabSz="357708">
              <a:lnSpc>
                <a:spcPct val="140000"/>
              </a:lnSpc>
              <a:spcBef>
                <a:spcPts val="0"/>
              </a:spcBef>
              <a:defRPr sz="1400"/>
            </a:lvl2pPr>
            <a:lvl3pPr marL="459000" indent="-228600" defTabSz="357708">
              <a:lnSpc>
                <a:spcPct val="140000"/>
              </a:lnSpc>
              <a:spcBef>
                <a:spcPts val="0"/>
              </a:spcBef>
              <a:buClr>
                <a:schemeClr val="accent2"/>
              </a:buClr>
              <a:buSzPct val="100000"/>
              <a:buFont typeface="Wingdings" panose="05000000000000000000" pitchFamily="2" charset="2"/>
              <a:buChar char=""/>
              <a:defRPr sz="1400"/>
            </a:lvl3pPr>
            <a:lvl4pPr marL="687600" indent="-228600" defTabSz="357708">
              <a:lnSpc>
                <a:spcPct val="140000"/>
              </a:lnSpc>
              <a:spcBef>
                <a:spcPts val="0"/>
              </a:spcBef>
              <a:buClr>
                <a:schemeClr val="tx1"/>
              </a:buClr>
              <a:buSzPct val="100000"/>
              <a:buFont typeface="Wingdings" panose="05000000000000000000" pitchFamily="2" charset="2"/>
              <a:buChar char=""/>
              <a:defRPr sz="1200"/>
            </a:lvl4pPr>
            <a:lvl5pPr marL="890800" indent="-203200" defTabSz="357708">
              <a:lnSpc>
                <a:spcPct val="140000"/>
              </a:lnSpc>
              <a:spcBef>
                <a:spcPts val="0"/>
              </a:spcBef>
              <a:buClr>
                <a:schemeClr val="tx1"/>
              </a:buClr>
              <a:buSzPct val="100000"/>
              <a:buFont typeface="Wingdings" panose="05000000000000000000" pitchFamily="2" charset="2"/>
              <a:buChar char=""/>
              <a:defRPr sz="1100"/>
            </a:lvl5pPr>
            <a:lvl6pPr marL="1043200" indent="-152400" defTabSz="357708">
              <a:lnSpc>
                <a:spcPct val="140000"/>
              </a:lnSpc>
              <a:buClr>
                <a:schemeClr val="tx1"/>
              </a:buClr>
              <a:buSzPct val="100000"/>
              <a:buFont typeface="Wingdings" panose="05000000000000000000" pitchFamily="2" charset="2"/>
              <a:buChar char=""/>
              <a:defRPr sz="105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995304706"/>
      </p:ext>
    </p:extLst>
  </p:cSld>
  <p:clrMapOvr>
    <a:masterClrMapping/>
  </p:clrMapOvr>
  <p:transition/>
  <p:hf hdr="0" ft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4 Graphs and Text">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850" cap="none" baseline="0">
                <a:solidFill>
                  <a:schemeClr val="tx1"/>
                </a:solidFill>
                <a:latin typeface="ShellMedium" panose="00000600000000000000" pitchFamily="50" charset="0"/>
              </a:defRPr>
            </a:lvl1pPr>
          </a:lstStyle>
          <a:p>
            <a:pPr lvl="0"/>
            <a:r>
              <a:rPr lang="en-GB" dirty="0"/>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atin typeface="+mj-lt"/>
              </a:defRPr>
            </a:lvl1pPr>
          </a:lstStyle>
          <a:p>
            <a:pPr lvl="0"/>
            <a:r>
              <a:rPr lang="en-US" noProof="0"/>
              <a:t>Click to edit Master title style</a:t>
            </a:r>
            <a:endParaRPr lang="en-GB" noProof="0" dirty="0"/>
          </a:p>
        </p:txBody>
      </p:sp>
      <p:sp>
        <p:nvSpPr>
          <p:cNvPr id="40" name="Content Placeholder 51"/>
          <p:cNvSpPr>
            <a:spLocks noGrp="1"/>
          </p:cNvSpPr>
          <p:nvPr>
            <p:ph sz="quarter" idx="46" hasCustomPrompt="1"/>
          </p:nvPr>
        </p:nvSpPr>
        <p:spPr>
          <a:xfrm>
            <a:off x="507999" y="4116538"/>
            <a:ext cx="2606675" cy="256352"/>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Subtitle appears here</a:t>
            </a:r>
          </a:p>
        </p:txBody>
      </p:sp>
      <p:sp>
        <p:nvSpPr>
          <p:cNvPr id="100" name="Content Placeholder 51"/>
          <p:cNvSpPr>
            <a:spLocks noGrp="1"/>
          </p:cNvSpPr>
          <p:nvPr>
            <p:ph sz="quarter" idx="55" hasCustomPrompt="1"/>
          </p:nvPr>
        </p:nvSpPr>
        <p:spPr>
          <a:xfrm>
            <a:off x="507999" y="1780690"/>
            <a:ext cx="2606675" cy="256352"/>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sp>
        <p:nvSpPr>
          <p:cNvPr id="102" name="Chart Placeholder 16"/>
          <p:cNvSpPr>
            <a:spLocks noGrp="1"/>
          </p:cNvSpPr>
          <p:nvPr>
            <p:ph type="chart" sz="quarter" idx="56"/>
          </p:nvPr>
        </p:nvSpPr>
        <p:spPr>
          <a:xfrm>
            <a:off x="507999" y="2120382"/>
            <a:ext cx="2606675" cy="1623641"/>
          </a:xfrm>
        </p:spPr>
        <p:txBody>
          <a:bodyPr>
            <a:normAutofit/>
          </a:bodyPr>
          <a:lstStyle>
            <a:lvl1pPr>
              <a:defRPr sz="1400">
                <a:solidFill>
                  <a:schemeClr val="tx1"/>
                </a:solidFill>
                <a:latin typeface="+mn-lt"/>
              </a:defRPr>
            </a:lvl1pPr>
          </a:lstStyle>
          <a:p>
            <a:r>
              <a:rPr lang="en-US"/>
              <a:t>Click icon to add chart</a:t>
            </a:r>
            <a:endParaRPr lang="nl-NL" dirty="0"/>
          </a:p>
        </p:txBody>
      </p:sp>
      <p:sp>
        <p:nvSpPr>
          <p:cNvPr id="105" name="Content Placeholder 51"/>
          <p:cNvSpPr>
            <a:spLocks noGrp="1"/>
          </p:cNvSpPr>
          <p:nvPr>
            <p:ph sz="quarter" idx="58" hasCustomPrompt="1"/>
          </p:nvPr>
        </p:nvSpPr>
        <p:spPr>
          <a:xfrm>
            <a:off x="6235536" y="4116538"/>
            <a:ext cx="2606400" cy="256352"/>
          </a:xfrm>
        </p:spPr>
        <p:txBody>
          <a:bodyPr vert="horz" wrap="square" lIns="0" tIns="0" rIns="0" bIns="0" rtlCol="0">
            <a:spAutoFit/>
          </a:bodyPr>
          <a:lstStyle>
            <a:lvl1pPr marL="0" indent="0" algn="l" defTabSz="1219170" rtl="0" eaLnBrk="1" latinLnBrk="0" hangingPunct="1">
              <a:lnSpc>
                <a:spcPct val="119000"/>
              </a:lnSpc>
              <a:spcBef>
                <a:spcPts val="0"/>
              </a:spcBef>
              <a:spcAft>
                <a:spcPts val="0"/>
              </a:spcAft>
              <a:buClr>
                <a:srgbClr val="F7D117"/>
              </a:buClr>
              <a:buSzPct val="120000"/>
              <a:buFont typeface="Wingdings" pitchFamily="2" charset="2"/>
              <a:buNone/>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Subtitle appears here</a:t>
            </a:r>
          </a:p>
        </p:txBody>
      </p:sp>
      <p:sp>
        <p:nvSpPr>
          <p:cNvPr id="110" name="Content Placeholder 51"/>
          <p:cNvSpPr>
            <a:spLocks noGrp="1"/>
          </p:cNvSpPr>
          <p:nvPr>
            <p:ph sz="quarter" idx="61" hasCustomPrompt="1"/>
          </p:nvPr>
        </p:nvSpPr>
        <p:spPr>
          <a:xfrm>
            <a:off x="6235536" y="1780690"/>
            <a:ext cx="2606400" cy="256352"/>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sp>
        <p:nvSpPr>
          <p:cNvPr id="112" name="Chart Placeholder 16"/>
          <p:cNvSpPr>
            <a:spLocks noGrp="1"/>
          </p:cNvSpPr>
          <p:nvPr>
            <p:ph type="chart" sz="quarter" idx="62"/>
          </p:nvPr>
        </p:nvSpPr>
        <p:spPr>
          <a:xfrm>
            <a:off x="6235536" y="2120382"/>
            <a:ext cx="2606400" cy="1623641"/>
          </a:xfrm>
        </p:spPr>
        <p:txBody>
          <a:bodyPr>
            <a:normAutofit/>
          </a:bodyPr>
          <a:lstStyle>
            <a:lvl1pPr>
              <a:defRPr sz="1400">
                <a:solidFill>
                  <a:schemeClr val="tx1"/>
                </a:solidFill>
                <a:latin typeface="+mn-lt"/>
              </a:defRPr>
            </a:lvl1pPr>
          </a:lstStyle>
          <a:p>
            <a:r>
              <a:rPr lang="en-US"/>
              <a:t>Click icon to add chart</a:t>
            </a:r>
            <a:endParaRPr lang="nl-NL" dirty="0"/>
          </a:p>
        </p:txBody>
      </p: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Feb 2024</a:t>
            </a:r>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a:t>
            </a:r>
          </a:p>
        </p:txBody>
      </p:sp>
      <p:sp>
        <p:nvSpPr>
          <p:cNvPr id="19" name="Content Placeholder 9"/>
          <p:cNvSpPr>
            <a:spLocks noGrp="1"/>
          </p:cNvSpPr>
          <p:nvPr>
            <p:ph sz="quarter" idx="11"/>
          </p:nvPr>
        </p:nvSpPr>
        <p:spPr>
          <a:xfrm>
            <a:off x="509312" y="4510882"/>
            <a:ext cx="2606050" cy="1568988"/>
          </a:xfrm>
        </p:spPr>
        <p:txBody>
          <a:bodyPr/>
          <a:lstStyle>
            <a:lvl1pPr marL="0" indent="0" defTabSz="357708">
              <a:lnSpc>
                <a:spcPct val="140000"/>
              </a:lnSpc>
              <a:spcBef>
                <a:spcPts val="0"/>
              </a:spcBef>
              <a:defRPr sz="1400"/>
            </a:lvl1pPr>
            <a:lvl2pPr marL="230400" indent="-230400" defTabSz="357708">
              <a:lnSpc>
                <a:spcPct val="140000"/>
              </a:lnSpc>
              <a:spcBef>
                <a:spcPts val="0"/>
              </a:spcBef>
              <a:defRPr sz="1400"/>
            </a:lvl2pPr>
            <a:lvl3pPr marL="459000" indent="-228600" defTabSz="357708">
              <a:lnSpc>
                <a:spcPct val="140000"/>
              </a:lnSpc>
              <a:spcBef>
                <a:spcPts val="0"/>
              </a:spcBef>
              <a:buClr>
                <a:schemeClr val="accent2"/>
              </a:buClr>
              <a:buSzPct val="100000"/>
              <a:buFont typeface="Wingdings" panose="05000000000000000000" pitchFamily="2" charset="2"/>
              <a:buChar char=""/>
              <a:defRPr sz="1400"/>
            </a:lvl3pPr>
            <a:lvl4pPr marL="687600" indent="-228600" defTabSz="357708">
              <a:lnSpc>
                <a:spcPct val="140000"/>
              </a:lnSpc>
              <a:spcBef>
                <a:spcPts val="0"/>
              </a:spcBef>
              <a:buClr>
                <a:schemeClr val="tx1"/>
              </a:buClr>
              <a:buSzPct val="100000"/>
              <a:buFont typeface="Wingdings" panose="05000000000000000000" pitchFamily="2" charset="2"/>
              <a:buChar char=""/>
              <a:defRPr sz="1200"/>
            </a:lvl4pPr>
            <a:lvl5pPr marL="890800" indent="-203200" defTabSz="357708">
              <a:lnSpc>
                <a:spcPct val="140000"/>
              </a:lnSpc>
              <a:spcBef>
                <a:spcPts val="0"/>
              </a:spcBef>
              <a:buClr>
                <a:schemeClr val="tx1"/>
              </a:buClr>
              <a:buSzPct val="100000"/>
              <a:buFont typeface="Wingdings" panose="05000000000000000000" pitchFamily="2" charset="2"/>
              <a:buChar char=""/>
              <a:defRPr sz="1100"/>
            </a:lvl5pPr>
            <a:lvl6pPr marL="1043200" indent="-152400" defTabSz="357708">
              <a:lnSpc>
                <a:spcPct val="140000"/>
              </a:lnSpc>
              <a:buClr>
                <a:schemeClr val="tx1"/>
              </a:buClr>
              <a:buSzPct val="100000"/>
              <a:buFont typeface="Wingdings" panose="05000000000000000000" pitchFamily="2" charset="2"/>
              <a:buChar char=""/>
              <a:defRPr sz="105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Content Placeholder 9"/>
          <p:cNvSpPr>
            <a:spLocks noGrp="1"/>
          </p:cNvSpPr>
          <p:nvPr>
            <p:ph sz="quarter" idx="63"/>
          </p:nvPr>
        </p:nvSpPr>
        <p:spPr>
          <a:xfrm>
            <a:off x="6235534" y="4510882"/>
            <a:ext cx="2608046" cy="1568988"/>
          </a:xfrm>
        </p:spPr>
        <p:txBody>
          <a:bodyPr/>
          <a:lstStyle>
            <a:lvl1pPr marL="0" indent="0" defTabSz="357708">
              <a:lnSpc>
                <a:spcPct val="140000"/>
              </a:lnSpc>
              <a:spcBef>
                <a:spcPts val="0"/>
              </a:spcBef>
              <a:defRPr sz="1400"/>
            </a:lvl1pPr>
            <a:lvl2pPr marL="230400" indent="-230400" defTabSz="357708">
              <a:lnSpc>
                <a:spcPct val="140000"/>
              </a:lnSpc>
              <a:spcBef>
                <a:spcPts val="0"/>
              </a:spcBef>
              <a:defRPr sz="1400"/>
            </a:lvl2pPr>
            <a:lvl3pPr marL="459000" indent="-228600" defTabSz="357708">
              <a:lnSpc>
                <a:spcPct val="140000"/>
              </a:lnSpc>
              <a:spcBef>
                <a:spcPts val="0"/>
              </a:spcBef>
              <a:buClr>
                <a:schemeClr val="accent2"/>
              </a:buClr>
              <a:buSzPct val="100000"/>
              <a:buFont typeface="Wingdings" panose="05000000000000000000" pitchFamily="2" charset="2"/>
              <a:buChar char=""/>
              <a:defRPr sz="1400"/>
            </a:lvl3pPr>
            <a:lvl4pPr marL="687600" indent="-228600" defTabSz="357708">
              <a:lnSpc>
                <a:spcPct val="140000"/>
              </a:lnSpc>
              <a:spcBef>
                <a:spcPts val="0"/>
              </a:spcBef>
              <a:buClr>
                <a:schemeClr val="tx1"/>
              </a:buClr>
              <a:buSzPct val="100000"/>
              <a:buFont typeface="Wingdings" panose="05000000000000000000" pitchFamily="2" charset="2"/>
              <a:buChar char=""/>
              <a:defRPr sz="1200"/>
            </a:lvl4pPr>
            <a:lvl5pPr marL="890800" indent="-203200" defTabSz="357708">
              <a:lnSpc>
                <a:spcPct val="140000"/>
              </a:lnSpc>
              <a:spcBef>
                <a:spcPts val="0"/>
              </a:spcBef>
              <a:buClr>
                <a:schemeClr val="tx1"/>
              </a:buClr>
              <a:buSzPct val="100000"/>
              <a:buFont typeface="Wingdings" panose="05000000000000000000" pitchFamily="2" charset="2"/>
              <a:buChar char=""/>
              <a:defRPr sz="1100"/>
            </a:lvl5pPr>
            <a:lvl6pPr marL="1043200" indent="-152400" defTabSz="357708">
              <a:lnSpc>
                <a:spcPct val="140000"/>
              </a:lnSpc>
              <a:buClr>
                <a:schemeClr val="tx1"/>
              </a:buClr>
              <a:buSzPct val="100000"/>
              <a:buFont typeface="Wingdings" panose="05000000000000000000" pitchFamily="2" charset="2"/>
              <a:buChar char=""/>
              <a:defRPr sz="105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Content Placeholder 51"/>
          <p:cNvSpPr>
            <a:spLocks noGrp="1"/>
          </p:cNvSpPr>
          <p:nvPr>
            <p:ph sz="quarter" idx="64" hasCustomPrompt="1"/>
          </p:nvPr>
        </p:nvSpPr>
        <p:spPr>
          <a:xfrm>
            <a:off x="3369575" y="4116538"/>
            <a:ext cx="2606675" cy="256352"/>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Subtitle appears here</a:t>
            </a:r>
          </a:p>
        </p:txBody>
      </p:sp>
      <p:sp>
        <p:nvSpPr>
          <p:cNvPr id="22" name="Content Placeholder 51"/>
          <p:cNvSpPr>
            <a:spLocks noGrp="1"/>
          </p:cNvSpPr>
          <p:nvPr>
            <p:ph sz="quarter" idx="65" hasCustomPrompt="1"/>
          </p:nvPr>
        </p:nvSpPr>
        <p:spPr>
          <a:xfrm>
            <a:off x="3369575" y="1780690"/>
            <a:ext cx="2606675" cy="256352"/>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sp>
        <p:nvSpPr>
          <p:cNvPr id="23" name="Chart Placeholder 16"/>
          <p:cNvSpPr>
            <a:spLocks noGrp="1"/>
          </p:cNvSpPr>
          <p:nvPr>
            <p:ph type="chart" sz="quarter" idx="66"/>
          </p:nvPr>
        </p:nvSpPr>
        <p:spPr>
          <a:xfrm>
            <a:off x="3369575" y="2120382"/>
            <a:ext cx="2606675" cy="1623641"/>
          </a:xfrm>
        </p:spPr>
        <p:txBody>
          <a:bodyPr>
            <a:normAutofit/>
          </a:bodyPr>
          <a:lstStyle>
            <a:lvl1pPr>
              <a:defRPr sz="1400">
                <a:solidFill>
                  <a:schemeClr val="tx1"/>
                </a:solidFill>
                <a:latin typeface="+mn-lt"/>
              </a:defRPr>
            </a:lvl1pPr>
          </a:lstStyle>
          <a:p>
            <a:r>
              <a:rPr lang="en-US"/>
              <a:t>Click icon to add chart</a:t>
            </a:r>
            <a:endParaRPr lang="nl-NL" dirty="0"/>
          </a:p>
        </p:txBody>
      </p:sp>
      <p:sp>
        <p:nvSpPr>
          <p:cNvPr id="24" name="Content Placeholder 9"/>
          <p:cNvSpPr>
            <a:spLocks noGrp="1"/>
          </p:cNvSpPr>
          <p:nvPr>
            <p:ph sz="quarter" idx="67"/>
          </p:nvPr>
        </p:nvSpPr>
        <p:spPr>
          <a:xfrm>
            <a:off x="3370888" y="4510882"/>
            <a:ext cx="2606050" cy="1568988"/>
          </a:xfrm>
        </p:spPr>
        <p:txBody>
          <a:bodyPr/>
          <a:lstStyle>
            <a:lvl1pPr marL="0" indent="0" defTabSz="357708">
              <a:lnSpc>
                <a:spcPct val="140000"/>
              </a:lnSpc>
              <a:spcBef>
                <a:spcPts val="0"/>
              </a:spcBef>
              <a:defRPr sz="1400"/>
            </a:lvl1pPr>
            <a:lvl2pPr marL="230400" indent="-230400" defTabSz="357708">
              <a:lnSpc>
                <a:spcPct val="140000"/>
              </a:lnSpc>
              <a:spcBef>
                <a:spcPts val="0"/>
              </a:spcBef>
              <a:defRPr sz="1400"/>
            </a:lvl2pPr>
            <a:lvl3pPr marL="459000" indent="-228600" defTabSz="357708">
              <a:lnSpc>
                <a:spcPct val="140000"/>
              </a:lnSpc>
              <a:spcBef>
                <a:spcPts val="0"/>
              </a:spcBef>
              <a:buClr>
                <a:schemeClr val="accent2"/>
              </a:buClr>
              <a:buSzPct val="100000"/>
              <a:buFont typeface="Wingdings" panose="05000000000000000000" pitchFamily="2" charset="2"/>
              <a:buChar char=""/>
              <a:defRPr sz="1400"/>
            </a:lvl3pPr>
            <a:lvl4pPr marL="687600" indent="-228600" defTabSz="357708">
              <a:lnSpc>
                <a:spcPct val="140000"/>
              </a:lnSpc>
              <a:spcBef>
                <a:spcPts val="0"/>
              </a:spcBef>
              <a:buClr>
                <a:schemeClr val="tx1"/>
              </a:buClr>
              <a:buSzPct val="100000"/>
              <a:buFont typeface="Wingdings" panose="05000000000000000000" pitchFamily="2" charset="2"/>
              <a:buChar char=""/>
              <a:defRPr sz="1200"/>
            </a:lvl4pPr>
            <a:lvl5pPr marL="890800" indent="-203200" defTabSz="357708">
              <a:lnSpc>
                <a:spcPct val="140000"/>
              </a:lnSpc>
              <a:spcBef>
                <a:spcPts val="0"/>
              </a:spcBef>
              <a:buClr>
                <a:schemeClr val="tx1"/>
              </a:buClr>
              <a:buSzPct val="100000"/>
              <a:buFont typeface="Wingdings" panose="05000000000000000000" pitchFamily="2" charset="2"/>
              <a:buChar char=""/>
              <a:defRPr sz="1100"/>
            </a:lvl5pPr>
            <a:lvl6pPr marL="1043200" indent="-152400" defTabSz="357708">
              <a:lnSpc>
                <a:spcPct val="140000"/>
              </a:lnSpc>
              <a:buClr>
                <a:schemeClr val="tx1"/>
              </a:buClr>
              <a:buSzPct val="100000"/>
              <a:buFont typeface="Wingdings" panose="05000000000000000000" pitchFamily="2" charset="2"/>
              <a:buChar char=""/>
              <a:defRPr sz="105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7" name="Content Placeholder 51"/>
          <p:cNvSpPr>
            <a:spLocks noGrp="1"/>
          </p:cNvSpPr>
          <p:nvPr>
            <p:ph sz="quarter" idx="68" hasCustomPrompt="1"/>
          </p:nvPr>
        </p:nvSpPr>
        <p:spPr>
          <a:xfrm>
            <a:off x="9071193" y="4116538"/>
            <a:ext cx="2606400" cy="256352"/>
          </a:xfrm>
        </p:spPr>
        <p:txBody>
          <a:bodyPr vert="horz" wrap="square" lIns="0" tIns="0" rIns="0" bIns="0" rtlCol="0">
            <a:spAutoFit/>
          </a:bodyPr>
          <a:lstStyle>
            <a:lvl1pPr marL="0" indent="0" algn="l" defTabSz="1219170" rtl="0" eaLnBrk="1" latinLnBrk="0" hangingPunct="1">
              <a:lnSpc>
                <a:spcPct val="119000"/>
              </a:lnSpc>
              <a:spcBef>
                <a:spcPts val="0"/>
              </a:spcBef>
              <a:spcAft>
                <a:spcPts val="0"/>
              </a:spcAft>
              <a:buClr>
                <a:srgbClr val="F7D117"/>
              </a:buClr>
              <a:buSzPct val="120000"/>
              <a:buFont typeface="Wingdings" pitchFamily="2" charset="2"/>
              <a:buNone/>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Subtitle appears here</a:t>
            </a:r>
          </a:p>
        </p:txBody>
      </p:sp>
      <p:sp>
        <p:nvSpPr>
          <p:cNvPr id="48" name="Content Placeholder 51"/>
          <p:cNvSpPr>
            <a:spLocks noGrp="1"/>
          </p:cNvSpPr>
          <p:nvPr>
            <p:ph sz="quarter" idx="69" hasCustomPrompt="1"/>
          </p:nvPr>
        </p:nvSpPr>
        <p:spPr>
          <a:xfrm>
            <a:off x="9071193" y="1780690"/>
            <a:ext cx="2606400" cy="256352"/>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sp>
        <p:nvSpPr>
          <p:cNvPr id="49" name="Chart Placeholder 16"/>
          <p:cNvSpPr>
            <a:spLocks noGrp="1"/>
          </p:cNvSpPr>
          <p:nvPr>
            <p:ph type="chart" sz="quarter" idx="70"/>
          </p:nvPr>
        </p:nvSpPr>
        <p:spPr>
          <a:xfrm>
            <a:off x="9071193" y="2120382"/>
            <a:ext cx="2606400" cy="1623641"/>
          </a:xfrm>
        </p:spPr>
        <p:txBody>
          <a:bodyPr>
            <a:normAutofit/>
          </a:bodyPr>
          <a:lstStyle>
            <a:lvl1pPr>
              <a:defRPr sz="1400">
                <a:solidFill>
                  <a:schemeClr val="tx1"/>
                </a:solidFill>
                <a:latin typeface="+mn-lt"/>
              </a:defRPr>
            </a:lvl1pPr>
          </a:lstStyle>
          <a:p>
            <a:r>
              <a:rPr lang="en-US"/>
              <a:t>Click icon to add chart</a:t>
            </a:r>
            <a:endParaRPr lang="nl-NL" dirty="0"/>
          </a:p>
        </p:txBody>
      </p:sp>
      <p:sp>
        <p:nvSpPr>
          <p:cNvPr id="50" name="Content Placeholder 9"/>
          <p:cNvSpPr>
            <a:spLocks noGrp="1"/>
          </p:cNvSpPr>
          <p:nvPr>
            <p:ph sz="quarter" idx="71"/>
          </p:nvPr>
        </p:nvSpPr>
        <p:spPr>
          <a:xfrm>
            <a:off x="9071191" y="4510882"/>
            <a:ext cx="2608046" cy="1568988"/>
          </a:xfrm>
        </p:spPr>
        <p:txBody>
          <a:bodyPr/>
          <a:lstStyle>
            <a:lvl1pPr marL="0" indent="0" defTabSz="357708">
              <a:lnSpc>
                <a:spcPct val="140000"/>
              </a:lnSpc>
              <a:spcBef>
                <a:spcPts val="0"/>
              </a:spcBef>
              <a:defRPr sz="1400"/>
            </a:lvl1pPr>
            <a:lvl2pPr marL="230400" indent="-230400" defTabSz="357708">
              <a:lnSpc>
                <a:spcPct val="140000"/>
              </a:lnSpc>
              <a:spcBef>
                <a:spcPts val="0"/>
              </a:spcBef>
              <a:defRPr sz="1400"/>
            </a:lvl2pPr>
            <a:lvl3pPr marL="459000" indent="-228600" defTabSz="357708">
              <a:lnSpc>
                <a:spcPct val="140000"/>
              </a:lnSpc>
              <a:spcBef>
                <a:spcPts val="0"/>
              </a:spcBef>
              <a:buClr>
                <a:schemeClr val="accent2"/>
              </a:buClr>
              <a:buSzPct val="100000"/>
              <a:buFont typeface="Wingdings" panose="05000000000000000000" pitchFamily="2" charset="2"/>
              <a:buChar char=""/>
              <a:defRPr sz="1400"/>
            </a:lvl3pPr>
            <a:lvl4pPr marL="687600" indent="-228600" defTabSz="357708">
              <a:lnSpc>
                <a:spcPct val="140000"/>
              </a:lnSpc>
              <a:spcBef>
                <a:spcPts val="0"/>
              </a:spcBef>
              <a:buClr>
                <a:schemeClr val="tx1"/>
              </a:buClr>
              <a:buSzPct val="100000"/>
              <a:buFont typeface="Wingdings" panose="05000000000000000000" pitchFamily="2" charset="2"/>
              <a:buChar char=""/>
              <a:defRPr sz="1200"/>
            </a:lvl4pPr>
            <a:lvl5pPr marL="890800" indent="-203200" defTabSz="357708">
              <a:lnSpc>
                <a:spcPct val="140000"/>
              </a:lnSpc>
              <a:spcBef>
                <a:spcPts val="0"/>
              </a:spcBef>
              <a:buClr>
                <a:schemeClr val="tx1"/>
              </a:buClr>
              <a:buSzPct val="100000"/>
              <a:buFont typeface="Wingdings" panose="05000000000000000000" pitchFamily="2" charset="2"/>
              <a:buChar char=""/>
              <a:defRPr sz="1100"/>
            </a:lvl5pPr>
            <a:lvl6pPr marL="1043200" indent="-152400" defTabSz="357708">
              <a:lnSpc>
                <a:spcPct val="140000"/>
              </a:lnSpc>
              <a:buClr>
                <a:schemeClr val="tx1"/>
              </a:buClr>
              <a:buSzPct val="100000"/>
              <a:buFont typeface="Wingdings" panose="05000000000000000000" pitchFamily="2" charset="2"/>
              <a:buChar char=""/>
              <a:defRPr sz="105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032309094"/>
      </p:ext>
    </p:extLst>
  </p:cSld>
  <p:clrMapOvr>
    <a:masterClrMapping/>
  </p:clrMapOvr>
  <p:transition/>
  <p:hf hdr="0" ftr="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pic>
        <p:nvPicPr>
          <p:cNvPr id="101" name="Picture 100"/>
          <p:cNvPicPr>
            <a:picLocks noChangeAspect="1"/>
          </p:cNvPicPr>
          <p:nvPr/>
        </p:nvPicPr>
        <p:blipFill rotWithShape="1">
          <a:blip r:embed="rId2">
            <a:extLst>
              <a:ext uri="{28A0092B-C50C-407E-A947-70E740481C1C}">
                <a14:useLocalDpi xmlns:a14="http://schemas.microsoft.com/office/drawing/2010/main" val="0"/>
              </a:ext>
            </a:extLst>
          </a:blip>
          <a:srcRect l="4658" t="3243" r="26982"/>
          <a:stretch/>
        </p:blipFill>
        <p:spPr>
          <a:xfrm flipH="1">
            <a:off x="0" y="0"/>
            <a:ext cx="8067404" cy="6858000"/>
          </a:xfrm>
          <a:prstGeom prst="rect">
            <a:avLst/>
          </a:prstGeom>
        </p:spPr>
      </p:pic>
      <p:sp>
        <p:nvSpPr>
          <p:cNvPr id="18" name="Title 1"/>
          <p:cNvSpPr>
            <a:spLocks noGrp="1"/>
          </p:cNvSpPr>
          <p:nvPr>
            <p:ph type="title"/>
          </p:nvPr>
        </p:nvSpPr>
        <p:spPr>
          <a:xfrm>
            <a:off x="7601520" y="4826000"/>
            <a:ext cx="4077539" cy="895962"/>
          </a:xfrm>
          <a:prstGeom prst="rect">
            <a:avLst/>
          </a:prstGeom>
        </p:spPr>
        <p:txBody>
          <a:bodyPr lIns="0" tIns="0" rIns="0" bIns="0"/>
          <a:lstStyle>
            <a:lvl1pPr algn="l">
              <a:defRPr sz="1600" b="0" cap="none" baseline="0">
                <a:solidFill>
                  <a:schemeClr val="tx1"/>
                </a:solidFill>
                <a:latin typeface="+mn-lt"/>
              </a:defRPr>
            </a:lvl1pPr>
          </a:lstStyle>
          <a:p>
            <a:r>
              <a:rPr lang="en-US"/>
              <a:t>Click to edit Master title style</a:t>
            </a:r>
            <a:endParaRPr lang="en-GB" dirty="0"/>
          </a:p>
        </p:txBody>
      </p:sp>
      <p:sp>
        <p:nvSpPr>
          <p:cNvPr id="25" name="Text Placeholder 2"/>
          <p:cNvSpPr>
            <a:spLocks noGrp="1"/>
          </p:cNvSpPr>
          <p:nvPr>
            <p:ph type="body" idx="1"/>
          </p:nvPr>
        </p:nvSpPr>
        <p:spPr>
          <a:xfrm>
            <a:off x="7601520" y="3258524"/>
            <a:ext cx="4077539" cy="1508861"/>
          </a:xfrm>
          <a:prstGeom prst="rect">
            <a:avLst/>
          </a:prstGeom>
        </p:spPr>
        <p:txBody>
          <a:bodyPr lIns="0" tIns="0" rIns="0" bIns="0" anchor="t" anchorCtr="0"/>
          <a:lstStyle>
            <a:lvl1pPr marL="0" indent="0">
              <a:lnSpc>
                <a:spcPct val="100000"/>
              </a:lnSpc>
              <a:spcAft>
                <a:spcPts val="0"/>
              </a:spcAft>
              <a:buNone/>
              <a:defRPr sz="32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Click to edit Master text styles</a:t>
            </a:r>
          </a:p>
        </p:txBody>
      </p:sp>
      <p:sp>
        <p:nvSpPr>
          <p:cNvPr id="34" name="Text Placeholder 13"/>
          <p:cNvSpPr>
            <a:spLocks noGrp="1"/>
          </p:cNvSpPr>
          <p:nvPr>
            <p:ph type="body" sz="quarter" idx="13" hasCustomPrompt="1"/>
          </p:nvPr>
        </p:nvSpPr>
        <p:spPr bwMode="gray">
          <a:xfrm>
            <a:off x="7619994" y="1908483"/>
            <a:ext cx="2724653" cy="1123888"/>
          </a:xfrm>
          <a:prstGeom prst="rect">
            <a:avLst/>
          </a:prstGeom>
        </p:spPr>
        <p:txBody>
          <a:bodyPr lIns="0" tIns="0" rIns="0" bIns="0"/>
          <a:lstStyle>
            <a:lvl1pPr marL="0" algn="l" defTabSz="1219170" rtl="0" eaLnBrk="1" latinLnBrk="0" hangingPunct="1">
              <a:lnSpc>
                <a:spcPct val="100000"/>
              </a:lnSpc>
              <a:buClr>
                <a:srgbClr val="DD1D21"/>
              </a:buClr>
              <a:buSzPct val="85000"/>
              <a:buNone/>
              <a:tabLst>
                <a:tab pos="1081088" algn="l"/>
              </a:tabLst>
              <a:defRPr lang="en-GB" sz="7300" kern="10000" spc="-600" baseline="0" dirty="0">
                <a:ln w="3175">
                  <a:noFill/>
                </a:ln>
                <a:solidFill>
                  <a:schemeClr val="accent2"/>
                </a:solidFill>
                <a:latin typeface="ShellHeavy" panose="00000700000000000000" pitchFamily="2" charset="0"/>
                <a:ea typeface="ShellHeavy" panose="00000700000000000000" pitchFamily="2" charset="0"/>
                <a:cs typeface="ShellHeavy" panose="00000700000000000000" pitchFamily="2" charset="0"/>
              </a:defRPr>
            </a:lvl1pPr>
          </a:lstStyle>
          <a:p>
            <a:pPr lvl="0"/>
            <a:r>
              <a:rPr lang="en-GB" dirty="0"/>
              <a:t>0.1</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Feb 2024</a:t>
            </a:r>
          </a:p>
        </p:txBody>
      </p:sp>
      <p:sp>
        <p:nvSpPr>
          <p:cNvPr id="15" name="Text Box 11" descr="&lt;COMPANY_NAME&gt;"/>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ShellMedium" panose="00000600000000000000" pitchFamily="50" charset="0"/>
                <a:cs typeface="Arial" pitchFamily="34" charset="0"/>
              </a:rPr>
              <a:t>SPDC</a:t>
            </a:r>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a:t>
            </a:r>
          </a:p>
        </p:txBody>
      </p:sp>
    </p:spTree>
    <p:extLst>
      <p:ext uri="{BB962C8B-B14F-4D97-AF65-F5344CB8AC3E}">
        <p14:creationId xmlns:p14="http://schemas.microsoft.com/office/powerpoint/2010/main" val="1527200840"/>
      </p:ext>
    </p:extLst>
  </p:cSld>
  <p:clrMapOvr>
    <a:masterClrMapping/>
  </p:clrMapOvr>
  <p:transition/>
  <p:hf hdr="0" ft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Header with Image">
    <p:spTree>
      <p:nvGrpSpPr>
        <p:cNvPr id="1" name=""/>
        <p:cNvGrpSpPr/>
        <p:nvPr/>
      </p:nvGrpSpPr>
      <p:grpSpPr>
        <a:xfrm>
          <a:off x="0" y="0"/>
          <a:ext cx="0" cy="0"/>
          <a:chOff x="0" y="0"/>
          <a:chExt cx="0" cy="0"/>
        </a:xfrm>
      </p:grpSpPr>
      <p:sp>
        <p:nvSpPr>
          <p:cNvPr id="16" name="Rectangle 15"/>
          <p:cNvSpPr/>
          <p:nvPr/>
        </p:nvSpPr>
        <p:spPr bwMode="gray">
          <a:xfrm>
            <a:off x="-4046" y="483102"/>
            <a:ext cx="1394397" cy="184552"/>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32" name="Rectangle 31"/>
          <p:cNvSpPr/>
          <p:nvPr/>
        </p:nvSpPr>
        <p:spPr bwMode="white">
          <a:xfrm>
            <a:off x="501606" y="488935"/>
            <a:ext cx="1311092" cy="1188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a:t>
            </a:r>
          </a:p>
        </p:txBody>
      </p:sp>
      <p:sp>
        <p:nvSpPr>
          <p:cNvPr id="13" name="Picture Placeholder 2"/>
          <p:cNvSpPr>
            <a:spLocks noGrp="1"/>
          </p:cNvSpPr>
          <p:nvPr>
            <p:ph type="pic" sz="quarter" idx="12"/>
          </p:nvPr>
        </p:nvSpPr>
        <p:spPr bwMode="auto">
          <a:xfrm>
            <a:off x="5578475" y="0"/>
            <a:ext cx="6616248" cy="6857999"/>
          </a:xfrm>
          <a:prstGeom prst="rect">
            <a:avLst/>
          </a:prstGeom>
          <a:noFill/>
          <a:ln w="9525" algn="ctr">
            <a:noFill/>
            <a:miter lim="800000"/>
            <a:headEnd/>
            <a:tailEnd/>
          </a:ln>
        </p:spPr>
        <p:txBody>
          <a:bodyPr/>
          <a:lstStyle>
            <a:lvl1pPr>
              <a:defRPr sz="2133"/>
            </a:lvl1pPr>
          </a:lstStyle>
          <a:p>
            <a:r>
              <a:rPr lang="en-US"/>
              <a:t>Click icon to add picture</a:t>
            </a:r>
            <a:endParaRPr lang="en-GB" dirty="0"/>
          </a:p>
        </p:txBody>
      </p:sp>
      <p:sp>
        <p:nvSpPr>
          <p:cNvPr id="17" name="Rectangle 2"/>
          <p:cNvSpPr>
            <a:spLocks noGrp="1" noChangeArrowheads="1"/>
          </p:cNvSpPr>
          <p:nvPr>
            <p:ph type="ctrTitle"/>
          </p:nvPr>
        </p:nvSpPr>
        <p:spPr>
          <a:xfrm>
            <a:off x="765175" y="3258523"/>
            <a:ext cx="4066542" cy="1508861"/>
          </a:xfrm>
          <a:noFill/>
        </p:spPr>
        <p:txBody>
          <a:bodyPr lIns="0" tIns="0" rIns="0"/>
          <a:lstStyle>
            <a:lvl1pPr>
              <a:defRPr sz="320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9" name="Rectangle 3"/>
          <p:cNvSpPr>
            <a:spLocks noGrp="1" noChangeArrowheads="1"/>
          </p:cNvSpPr>
          <p:nvPr>
            <p:ph type="subTitle" idx="1"/>
          </p:nvPr>
        </p:nvSpPr>
        <p:spPr>
          <a:xfrm>
            <a:off x="772990" y="4826586"/>
            <a:ext cx="4066542" cy="895376"/>
          </a:xfrm>
        </p:spPr>
        <p:txBody>
          <a:bodyPr/>
          <a:lstStyle>
            <a:lvl1pPr marL="0" indent="0">
              <a:lnSpc>
                <a:spcPct val="90000"/>
              </a:lnSpc>
              <a:spcBef>
                <a:spcPct val="0"/>
              </a:spcBef>
              <a:spcAft>
                <a:spcPts val="0"/>
              </a:spcAft>
              <a:buFont typeface="Wingdings" pitchFamily="2" charset="2"/>
              <a:buNone/>
              <a:defRPr lang="en-GB" sz="1600" kern="1200" baseline="0" dirty="0">
                <a:solidFill>
                  <a:schemeClr val="tx1"/>
                </a:solidFill>
                <a:latin typeface="+mn-lt"/>
                <a:ea typeface="+mn-ea"/>
                <a:cs typeface="+mn-cs"/>
              </a:defRPr>
            </a:lvl1pPr>
          </a:lstStyle>
          <a:p>
            <a:r>
              <a:rPr lang="en-US"/>
              <a:t>Click to edit Master subtitle style</a:t>
            </a:r>
            <a:endParaRPr lang="en-GB" dirty="0"/>
          </a:p>
        </p:txBody>
      </p:sp>
      <p:sp>
        <p:nvSpPr>
          <p:cNvPr id="1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Feb 2024</a:t>
            </a:r>
          </a:p>
        </p:txBody>
      </p:sp>
    </p:spTree>
    <p:extLst>
      <p:ext uri="{BB962C8B-B14F-4D97-AF65-F5344CB8AC3E}">
        <p14:creationId xmlns:p14="http://schemas.microsoft.com/office/powerpoint/2010/main" val="3725526719"/>
      </p:ext>
    </p:extLst>
  </p:cSld>
  <p:clrMapOvr>
    <a:masterClrMapping/>
  </p:clrMapOvr>
  <p:transition/>
  <p:hf hdr="0" ftr="0"/>
  <p:extLst>
    <p:ext uri="{DCECCB84-F9BA-43D5-87BE-67443E8EF086}">
      <p15:sldGuideLst xmlns:p15="http://schemas.microsoft.com/office/powerpoint/2012/main">
        <p15:guide id="1" orient="horz" pos="2160">
          <p15:clr>
            <a:srgbClr val="FBAE40"/>
          </p15:clr>
        </p15:guide>
        <p15:guide id="2" orient="horz" pos="2260">
          <p15:clr>
            <a:srgbClr val="FBAE40"/>
          </p15:clr>
        </p15:guide>
        <p15:guide id="3" orient="horz" pos="23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80802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dirty="0"/>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14"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a:t>
            </a:r>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Feb 2024</a:t>
            </a:r>
          </a:p>
        </p:txBody>
      </p:sp>
    </p:spTree>
    <p:extLst>
      <p:ext uri="{BB962C8B-B14F-4D97-AF65-F5344CB8AC3E}">
        <p14:creationId xmlns:p14="http://schemas.microsoft.com/office/powerpoint/2010/main" val="1512452356"/>
      </p:ext>
    </p:extLst>
  </p:cSld>
  <p:clrMapOvr>
    <a:masterClrMapping/>
  </p:clrMapOvr>
  <p:transition/>
  <p:hf hdr="0" ft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Quotation - Full Screen image">
    <p:spTree>
      <p:nvGrpSpPr>
        <p:cNvPr id="1" name=""/>
        <p:cNvGrpSpPr/>
        <p:nvPr/>
      </p:nvGrpSpPr>
      <p:grpSpPr>
        <a:xfrm>
          <a:off x="0" y="0"/>
          <a:ext cx="0" cy="0"/>
          <a:chOff x="0" y="0"/>
          <a:chExt cx="0" cy="0"/>
        </a:xfrm>
      </p:grpSpPr>
      <p:sp>
        <p:nvSpPr>
          <p:cNvPr id="6" name="Picture Placeholder 2" descr="&lt;ignore&gt;"/>
          <p:cNvSpPr>
            <a:spLocks noGrp="1"/>
          </p:cNvSpPr>
          <p:nvPr>
            <p:ph type="pic" sz="quarter" idx="12"/>
          </p:nvPr>
        </p:nvSpPr>
        <p:spPr bwMode="auto">
          <a:xfrm>
            <a:off x="0" y="0"/>
            <a:ext cx="12194382" cy="6858000"/>
          </a:xfrm>
          <a:prstGeom prst="rect">
            <a:avLst/>
          </a:prstGeom>
          <a:noFill/>
          <a:ln w="3175" algn="ctr">
            <a:noFill/>
            <a:miter lim="800000"/>
            <a:headEnd/>
            <a:tailEnd/>
          </a:ln>
        </p:spPr>
        <p:txBody>
          <a:bodyPr/>
          <a:lstStyle>
            <a:lvl1pPr>
              <a:defRPr sz="2133"/>
            </a:lvl1pPr>
          </a:lstStyle>
          <a:p>
            <a:r>
              <a:rPr lang="en-US"/>
              <a:t>Click icon to add pictur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Feb 2024</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a:t>
            </a:r>
          </a:p>
        </p:txBody>
      </p:sp>
      <p:sp>
        <p:nvSpPr>
          <p:cNvPr id="3" name="Text Placeholder 2" descr="&lt;IGNORE&gt;" title="&lt;IGNORE&gt;"/>
          <p:cNvSpPr>
            <a:spLocks noGrp="1"/>
          </p:cNvSpPr>
          <p:nvPr>
            <p:ph type="body" sz="quarter" idx="13"/>
          </p:nvPr>
        </p:nvSpPr>
        <p:spPr>
          <a:xfrm>
            <a:off x="513179" y="1681888"/>
            <a:ext cx="11166561" cy="2861742"/>
          </a:xfrm>
        </p:spPr>
        <p:txBody>
          <a:bodyPr/>
          <a:lstStyle>
            <a:lvl1pPr>
              <a:lnSpc>
                <a:spcPct val="110000"/>
              </a:lnSpc>
              <a:defRPr lang="en-US" sz="3600" b="0" kern="1200" dirty="0" smtClean="0">
                <a:solidFill>
                  <a:schemeClr val="tx1"/>
                </a:solidFill>
                <a:latin typeface="+mj-lt"/>
                <a:ea typeface="+mn-ea"/>
                <a:cs typeface="+mn-cs"/>
              </a:defRPr>
            </a:lvl1pPr>
          </a:lstStyle>
          <a:p>
            <a:pPr lvl="0"/>
            <a:r>
              <a:rPr lang="en-US"/>
              <a:t>Click to edit Master text styles</a:t>
            </a:r>
          </a:p>
        </p:txBody>
      </p:sp>
    </p:spTree>
    <p:extLst>
      <p:ext uri="{BB962C8B-B14F-4D97-AF65-F5344CB8AC3E}">
        <p14:creationId xmlns:p14="http://schemas.microsoft.com/office/powerpoint/2010/main" val="1324616192"/>
      </p:ext>
    </p:extLst>
  </p:cSld>
  <p:clrMapOvr>
    <a:masterClrMapping/>
  </p:clrMapOvr>
  <p:transition/>
  <p:hf hdr="0" ftr="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Q&amp;A">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l="4235" t="4524"/>
          <a:stretch/>
        </p:blipFill>
        <p:spPr>
          <a:xfrm>
            <a:off x="0" y="0"/>
            <a:ext cx="12192000" cy="6858000"/>
          </a:xfrm>
          <a:prstGeom prst="rect">
            <a:avLst/>
          </a:prstGeom>
        </p:spPr>
      </p:pic>
      <p:pic>
        <p:nvPicPr>
          <p:cNvPr id="14" name="Picture 13"/>
          <p:cNvPicPr>
            <a:picLocks noChangeAspect="1"/>
          </p:cNvPicPr>
          <p:nvPr/>
        </p:nvPicPr>
        <p:blipFill rotWithShape="1">
          <a:blip r:embed="rId3">
            <a:extLst>
              <a:ext uri="{28A0092B-C50C-407E-A947-70E740481C1C}">
                <a14:useLocalDpi xmlns:a14="http://schemas.microsoft.com/office/drawing/2010/main" val="0"/>
              </a:ext>
            </a:extLst>
          </a:blip>
          <a:srcRect t="21234" r="47297" b="27130"/>
          <a:stretch/>
        </p:blipFill>
        <p:spPr>
          <a:xfrm>
            <a:off x="5207633" y="0"/>
            <a:ext cx="6999607" cy="6858000"/>
          </a:xfrm>
          <a:prstGeom prst="rect">
            <a:avLst/>
          </a:prstGeom>
        </p:spPr>
      </p:pic>
      <p:sp>
        <p:nvSpPr>
          <p:cNvPr id="24" name="Title 1"/>
          <p:cNvSpPr>
            <a:spLocks noGrp="1"/>
          </p:cNvSpPr>
          <p:nvPr>
            <p:ph type="title" hasCustomPrompt="1"/>
          </p:nvPr>
        </p:nvSpPr>
        <p:spPr>
          <a:xfrm>
            <a:off x="766800" y="2344620"/>
            <a:ext cx="5187472" cy="1362075"/>
          </a:xfrm>
          <a:prstGeom prst="rect">
            <a:avLst/>
          </a:prstGeom>
        </p:spPr>
        <p:txBody>
          <a:bodyPr lIns="0" tIns="0" rIns="0" bIns="0"/>
          <a:lstStyle>
            <a:lvl1pPr algn="l">
              <a:defRPr sz="1400" b="0" cap="none" baseline="0">
                <a:solidFill>
                  <a:schemeClr val="tx1"/>
                </a:solidFill>
                <a:latin typeface="ShellMedium" panose="00000600000000000000" pitchFamily="2" charset="0"/>
              </a:defRPr>
            </a:lvl1pPr>
          </a:lstStyle>
          <a:p>
            <a:r>
              <a:rPr lang="en-GB" dirty="0"/>
              <a:t>Click to edit Master title style, if required</a:t>
            </a:r>
          </a:p>
        </p:txBody>
      </p:sp>
      <p:sp>
        <p:nvSpPr>
          <p:cNvPr id="25" name="Text Placeholder 2"/>
          <p:cNvSpPr>
            <a:spLocks noGrp="1"/>
          </p:cNvSpPr>
          <p:nvPr>
            <p:ph type="body" idx="1" hasCustomPrompt="1"/>
          </p:nvPr>
        </p:nvSpPr>
        <p:spPr>
          <a:xfrm>
            <a:off x="766800" y="723550"/>
            <a:ext cx="6375761" cy="1400214"/>
          </a:xfrm>
          <a:prstGeom prst="rect">
            <a:avLst/>
          </a:prstGeom>
        </p:spPr>
        <p:txBody>
          <a:bodyPr lIns="0" tIns="0" rIns="0" bIns="0" anchor="t" anchorCtr="0"/>
          <a:lstStyle>
            <a:lvl1pPr marL="0" indent="0">
              <a:lnSpc>
                <a:spcPct val="100000"/>
              </a:lnSpc>
              <a:spcAft>
                <a:spcPts val="0"/>
              </a:spcAft>
              <a:buNone/>
              <a:defRPr sz="9600" b="0" cap="none" baseline="0">
                <a:solidFill>
                  <a:srgbClr val="FFC600"/>
                </a:solidFill>
                <a:latin typeface="ShellHeavy" panose="00000700000000000000" pitchFamily="2" charset="0"/>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GB" dirty="0"/>
              <a:t>Q&amp;A</a:t>
            </a:r>
          </a:p>
        </p:txBody>
      </p:sp>
      <p:sp>
        <p:nvSpPr>
          <p:cNvPr id="26" name="Rectangle 4" descr="Rectangle 4"/>
          <p:cNvSpPr>
            <a:spLocks noGrp="1" noChangeArrowheads="1"/>
          </p:cNvSpPr>
          <p:nvPr>
            <p:ph type="dt" sz="half" idx="2"/>
          </p:nvPr>
        </p:nvSpPr>
        <p:spPr bwMode="gray">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bg1"/>
                </a:solidFill>
                <a:latin typeface="ShellMedium" panose="00000600000000000000" pitchFamily="50" charset="0"/>
                <a:ea typeface="+mn-ea"/>
                <a:cs typeface="Arial" pitchFamily="34" charset="0"/>
              </a:defRPr>
            </a:lvl1pPr>
          </a:lstStyle>
          <a:p>
            <a:pPr>
              <a:defRPr/>
            </a:pPr>
            <a:r>
              <a:rPr lang="en-GB" noProof="1"/>
              <a:t>Feb 2024</a:t>
            </a:r>
          </a:p>
        </p:txBody>
      </p:sp>
      <p:sp>
        <p:nvSpPr>
          <p:cNvPr id="27" name="Text Box 11" descr="&lt;COMPANY_NAME&gt;"/>
          <p:cNvSpPr txBox="1">
            <a:spLocks noChangeArrowheads="1"/>
          </p:cNvSpPr>
          <p:nvPr/>
        </p:nvSpPr>
        <p:spPr bwMode="gray">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bg1"/>
                </a:solidFill>
                <a:latin typeface="ShellMedium" panose="00000600000000000000" pitchFamily="50" charset="0"/>
                <a:cs typeface="Arial" pitchFamily="34" charset="0"/>
              </a:rPr>
              <a:t>SPDC</a:t>
            </a:r>
          </a:p>
        </p:txBody>
      </p:sp>
      <p:sp>
        <p:nvSpPr>
          <p:cNvPr id="28" name="Rectangle 6" descr="Rectangle 6"/>
          <p:cNvSpPr>
            <a:spLocks noGrp="1" noChangeArrowheads="1"/>
          </p:cNvSpPr>
          <p:nvPr>
            <p:ph type="sldNum" sz="quarter" idx="4"/>
          </p:nvPr>
        </p:nvSpPr>
        <p:spPr bwMode="gray">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bg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29" name="Rectangle 5"/>
          <p:cNvSpPr>
            <a:spLocks noGrp="1" noChangeArrowheads="1"/>
          </p:cNvSpPr>
          <p:nvPr>
            <p:ph type="ftr" sz="quarter" idx="3"/>
          </p:nvPr>
        </p:nvSpPr>
        <p:spPr bwMode="gray">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bg1"/>
                </a:solidFill>
                <a:latin typeface="ShellMedium" panose="00000600000000000000" pitchFamily="50" charset="0"/>
                <a:cs typeface="Arial" pitchFamily="34" charset="0"/>
              </a:defRPr>
            </a:lvl1pPr>
          </a:lstStyle>
          <a:p>
            <a:pPr>
              <a:defRPr/>
            </a:pPr>
            <a:r>
              <a:rPr lang="en-GB" noProof="1"/>
              <a:t>Footer</a:t>
            </a:r>
          </a:p>
        </p:txBody>
      </p:sp>
    </p:spTree>
    <p:extLst>
      <p:ext uri="{BB962C8B-B14F-4D97-AF65-F5344CB8AC3E}">
        <p14:creationId xmlns:p14="http://schemas.microsoft.com/office/powerpoint/2010/main" val="526068493"/>
      </p:ext>
    </p:extLst>
  </p:cSld>
  <p:clrMapOvr>
    <a:masterClrMapping/>
  </p:clrMapOvr>
  <p:transition/>
  <p:hf hdr="0" ftr="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Option 2">
    <p:spTree>
      <p:nvGrpSpPr>
        <p:cNvPr id="1" name=""/>
        <p:cNvGrpSpPr/>
        <p:nvPr/>
      </p:nvGrpSpPr>
      <p:grpSpPr>
        <a:xfrm>
          <a:off x="0" y="0"/>
          <a:ext cx="0" cy="0"/>
          <a:chOff x="0" y="0"/>
          <a:chExt cx="0" cy="0"/>
        </a:xfrm>
      </p:grpSpPr>
      <p:sp>
        <p:nvSpPr>
          <p:cNvPr id="20" name="Rectangle 2"/>
          <p:cNvSpPr>
            <a:spLocks noGrp="1" noChangeArrowheads="1"/>
          </p:cNvSpPr>
          <p:nvPr>
            <p:ph type="ctrTitle"/>
          </p:nvPr>
        </p:nvSpPr>
        <p:spPr>
          <a:xfrm>
            <a:off x="765175" y="2286000"/>
            <a:ext cx="4143255" cy="1386000"/>
          </a:xfrm>
          <a:noFill/>
        </p:spPr>
        <p:txBody>
          <a:bodyPr lIns="0" tIns="0" rIns="0" anchor="b" anchorCtr="0"/>
          <a:lstStyle>
            <a:lvl1pPr>
              <a:lnSpc>
                <a:spcPct val="110000"/>
              </a:lnSpc>
              <a:defRPr sz="36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1" name="Rectangle 3"/>
          <p:cNvSpPr>
            <a:spLocks noGrp="1" noChangeArrowheads="1"/>
          </p:cNvSpPr>
          <p:nvPr>
            <p:ph type="subTitle" idx="1"/>
          </p:nvPr>
        </p:nvSpPr>
        <p:spPr>
          <a:xfrm>
            <a:off x="765175" y="3805200"/>
            <a:ext cx="4060821" cy="749808"/>
          </a:xfrm>
        </p:spPr>
        <p:txBody>
          <a:bodyPr anchor="t" anchorCtr="0"/>
          <a:lstStyle>
            <a:lvl1pPr marL="0" indent="0">
              <a:lnSpc>
                <a:spcPct val="100000"/>
              </a:lnSpc>
              <a:spcBef>
                <a:spcPct val="0"/>
              </a:spcBef>
              <a:spcAft>
                <a:spcPts val="0"/>
              </a:spcAft>
              <a:buFont typeface="Wingdings" pitchFamily="2" charset="2"/>
              <a:buNone/>
              <a:defRPr sz="2000" baseline="0">
                <a:solidFill>
                  <a:schemeClr val="tx1"/>
                </a:solidFill>
                <a:latin typeface="+mn-lt"/>
                <a:cs typeface="Arial" pitchFamily="34" charset="0"/>
              </a:defRPr>
            </a:lvl1pPr>
          </a:lstStyle>
          <a:p>
            <a:r>
              <a:rPr lang="en-US"/>
              <a:t>Click to edit Master subtitle style</a:t>
            </a:r>
            <a:endParaRPr lang="en-GB" dirty="0"/>
          </a:p>
        </p:txBody>
      </p:sp>
      <p:sp>
        <p:nvSpPr>
          <p:cNvPr id="22" name="Text Placeholder 31"/>
          <p:cNvSpPr>
            <a:spLocks noGrp="1"/>
          </p:cNvSpPr>
          <p:nvPr>
            <p:ph type="body" sz="quarter" idx="10" hasCustomPrompt="1"/>
          </p:nvPr>
        </p:nvSpPr>
        <p:spPr>
          <a:xfrm>
            <a:off x="765175" y="4831200"/>
            <a:ext cx="4060821" cy="237600"/>
          </a:xfrm>
        </p:spPr>
        <p:txBody>
          <a:bodyPr anchor="t" anchorCtr="0"/>
          <a:lstStyle>
            <a:lvl1pPr>
              <a:lnSpc>
                <a:spcPct val="100000"/>
              </a:lnSpc>
              <a:buNone/>
              <a:defRPr sz="1400">
                <a:solidFill>
                  <a:schemeClr val="tx1"/>
                </a:solidFill>
                <a:latin typeface="ShellHeavy" panose="00000700000000000000" pitchFamily="2" charset="0"/>
              </a:defRPr>
            </a:lvl1pPr>
          </a:lstStyle>
          <a:p>
            <a:pPr lvl="0"/>
            <a:r>
              <a:rPr lang="en-GB" dirty="0"/>
              <a:t>Click to insert Author’s Name</a:t>
            </a:r>
          </a:p>
        </p:txBody>
      </p:sp>
      <p:sp>
        <p:nvSpPr>
          <p:cNvPr id="23" name="Text Placeholder 31"/>
          <p:cNvSpPr>
            <a:spLocks noGrp="1"/>
          </p:cNvSpPr>
          <p:nvPr>
            <p:ph type="body" sz="quarter" idx="11" hasCustomPrompt="1"/>
          </p:nvPr>
        </p:nvSpPr>
        <p:spPr>
          <a:xfrm>
            <a:off x="765175" y="5083200"/>
            <a:ext cx="4060821" cy="489785"/>
          </a:xfrm>
        </p:spPr>
        <p:txBody>
          <a:bodyPr anchor="t" anchorCtr="0"/>
          <a:lstStyle>
            <a:lvl1pPr>
              <a:lnSpc>
                <a:spcPct val="100000"/>
              </a:lnSpc>
              <a:buNone/>
              <a:defRPr sz="1400">
                <a:solidFill>
                  <a:schemeClr val="tx1"/>
                </a:solidFill>
                <a:latin typeface="ShellMedium" panose="00000600000000000000" pitchFamily="2" charset="0"/>
              </a:defRPr>
            </a:lvl1pPr>
          </a:lstStyle>
          <a:p>
            <a:pPr lvl="0"/>
            <a:r>
              <a:rPr lang="en-GB" dirty="0"/>
              <a:t>Click to insert Role in Organisation</a:t>
            </a:r>
          </a:p>
        </p:txBody>
      </p:sp>
      <p:sp>
        <p:nvSpPr>
          <p:cNvPr id="30" name="Text Box 11" descr="&lt;COMPANY_NAME&gt;"/>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ShellMedium" panose="00000600000000000000" pitchFamily="50" charset="0"/>
                <a:cs typeface="Arial" pitchFamily="34" charset="0"/>
              </a:rPr>
              <a:t>SPDC</a:t>
            </a:r>
          </a:p>
        </p:txBody>
      </p:sp>
      <p:sp>
        <p:nvSpPr>
          <p:cNvPr id="3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3" name="Picture Placeholder 2"/>
          <p:cNvSpPr>
            <a:spLocks noGrp="1"/>
          </p:cNvSpPr>
          <p:nvPr>
            <p:ph type="pic" sz="quarter" idx="12"/>
          </p:nvPr>
        </p:nvSpPr>
        <p:spPr bwMode="auto">
          <a:xfrm>
            <a:off x="5047384" y="1"/>
            <a:ext cx="7144616" cy="6359524"/>
          </a:xfrm>
          <a:custGeom>
            <a:avLst/>
            <a:gdLst>
              <a:gd name="connsiteX0" fmla="*/ 0 w 7141676"/>
              <a:gd name="connsiteY0" fmla="*/ 0 h 6316132"/>
              <a:gd name="connsiteX1" fmla="*/ 7141676 w 7141676"/>
              <a:gd name="connsiteY1" fmla="*/ 0 h 6316132"/>
              <a:gd name="connsiteX2" fmla="*/ 7141676 w 7141676"/>
              <a:gd name="connsiteY2" fmla="*/ 6316132 h 6316132"/>
              <a:gd name="connsiteX3" fmla="*/ 0 w 7141676"/>
              <a:gd name="connsiteY3" fmla="*/ 6316132 h 6316132"/>
              <a:gd name="connsiteX4" fmla="*/ 0 w 7141676"/>
              <a:gd name="connsiteY4" fmla="*/ 0 h 6316132"/>
              <a:gd name="connsiteX0" fmla="*/ 2940 w 7144616"/>
              <a:gd name="connsiteY0" fmla="*/ 0 h 6316132"/>
              <a:gd name="connsiteX1" fmla="*/ 7144616 w 7144616"/>
              <a:gd name="connsiteY1" fmla="*/ 0 h 6316132"/>
              <a:gd name="connsiteX2" fmla="*/ 7144616 w 7144616"/>
              <a:gd name="connsiteY2" fmla="*/ 6316132 h 6316132"/>
              <a:gd name="connsiteX3" fmla="*/ 2940 w 7144616"/>
              <a:gd name="connsiteY3" fmla="*/ 6316132 h 6316132"/>
              <a:gd name="connsiteX4" fmla="*/ 0 w 7144616"/>
              <a:gd name="connsiteY4" fmla="*/ 5779942 h 6316132"/>
              <a:gd name="connsiteX5" fmla="*/ 2940 w 7144616"/>
              <a:gd name="connsiteY5" fmla="*/ 0 h 6316132"/>
              <a:gd name="connsiteX0" fmla="*/ 2940 w 7144616"/>
              <a:gd name="connsiteY0" fmla="*/ 0 h 6316773"/>
              <a:gd name="connsiteX1" fmla="*/ 7144616 w 7144616"/>
              <a:gd name="connsiteY1" fmla="*/ 0 h 6316773"/>
              <a:gd name="connsiteX2" fmla="*/ 7144616 w 7144616"/>
              <a:gd name="connsiteY2" fmla="*/ 6316132 h 6316773"/>
              <a:gd name="connsiteX3" fmla="*/ 537870 w 7144616"/>
              <a:gd name="connsiteY3" fmla="*/ 6316773 h 6316773"/>
              <a:gd name="connsiteX4" fmla="*/ 2940 w 7144616"/>
              <a:gd name="connsiteY4" fmla="*/ 6316132 h 6316773"/>
              <a:gd name="connsiteX5" fmla="*/ 0 w 7144616"/>
              <a:gd name="connsiteY5" fmla="*/ 5779942 h 6316773"/>
              <a:gd name="connsiteX6" fmla="*/ 2940 w 7144616"/>
              <a:gd name="connsiteY6" fmla="*/ 0 h 6316773"/>
              <a:gd name="connsiteX0" fmla="*/ 2940 w 7144616"/>
              <a:gd name="connsiteY0" fmla="*/ 0 h 6316773"/>
              <a:gd name="connsiteX1" fmla="*/ 7144616 w 7144616"/>
              <a:gd name="connsiteY1" fmla="*/ 0 h 6316773"/>
              <a:gd name="connsiteX2" fmla="*/ 7144616 w 7144616"/>
              <a:gd name="connsiteY2" fmla="*/ 6316132 h 6316773"/>
              <a:gd name="connsiteX3" fmla="*/ 537870 w 7144616"/>
              <a:gd name="connsiteY3" fmla="*/ 6316773 h 6316773"/>
              <a:gd name="connsiteX4" fmla="*/ 0 w 7144616"/>
              <a:gd name="connsiteY4" fmla="*/ 5779942 h 6316773"/>
              <a:gd name="connsiteX5" fmla="*/ 2940 w 7144616"/>
              <a:gd name="connsiteY5" fmla="*/ 0 h 6316773"/>
              <a:gd name="connsiteX0" fmla="*/ 2940 w 7144616"/>
              <a:gd name="connsiteY0" fmla="*/ 0 h 6316773"/>
              <a:gd name="connsiteX1" fmla="*/ 7144616 w 7144616"/>
              <a:gd name="connsiteY1" fmla="*/ 0 h 6316773"/>
              <a:gd name="connsiteX2" fmla="*/ 7144616 w 7144616"/>
              <a:gd name="connsiteY2" fmla="*/ 6316132 h 6316773"/>
              <a:gd name="connsiteX3" fmla="*/ 537870 w 7144616"/>
              <a:gd name="connsiteY3" fmla="*/ 6316773 h 6316773"/>
              <a:gd name="connsiteX4" fmla="*/ 0 w 7144616"/>
              <a:gd name="connsiteY4" fmla="*/ 5779942 h 6316773"/>
              <a:gd name="connsiteX5" fmla="*/ 2940 w 7144616"/>
              <a:gd name="connsiteY5" fmla="*/ 0 h 6316773"/>
              <a:gd name="connsiteX0" fmla="*/ 2940 w 7144616"/>
              <a:gd name="connsiteY0" fmla="*/ 0 h 6316773"/>
              <a:gd name="connsiteX1" fmla="*/ 7144616 w 7144616"/>
              <a:gd name="connsiteY1" fmla="*/ 0 h 6316773"/>
              <a:gd name="connsiteX2" fmla="*/ 7144616 w 7144616"/>
              <a:gd name="connsiteY2" fmla="*/ 6316132 h 6316773"/>
              <a:gd name="connsiteX3" fmla="*/ 537870 w 7144616"/>
              <a:gd name="connsiteY3" fmla="*/ 6316773 h 6316773"/>
              <a:gd name="connsiteX4" fmla="*/ 0 w 7144616"/>
              <a:gd name="connsiteY4" fmla="*/ 5779942 h 6316773"/>
              <a:gd name="connsiteX5" fmla="*/ 2940 w 7144616"/>
              <a:gd name="connsiteY5" fmla="*/ 0 h 6316773"/>
              <a:gd name="connsiteX0" fmla="*/ 2940 w 7144616"/>
              <a:gd name="connsiteY0" fmla="*/ 0 h 6317008"/>
              <a:gd name="connsiteX1" fmla="*/ 7144616 w 7144616"/>
              <a:gd name="connsiteY1" fmla="*/ 0 h 6317008"/>
              <a:gd name="connsiteX2" fmla="*/ 7144616 w 7144616"/>
              <a:gd name="connsiteY2" fmla="*/ 6316132 h 6317008"/>
              <a:gd name="connsiteX3" fmla="*/ 537870 w 7144616"/>
              <a:gd name="connsiteY3" fmla="*/ 6316773 h 6317008"/>
              <a:gd name="connsiteX4" fmla="*/ 0 w 7144616"/>
              <a:gd name="connsiteY4" fmla="*/ 5779942 h 6317008"/>
              <a:gd name="connsiteX5" fmla="*/ 2940 w 7144616"/>
              <a:gd name="connsiteY5" fmla="*/ 0 h 6317008"/>
              <a:gd name="connsiteX0" fmla="*/ 2940 w 7144616"/>
              <a:gd name="connsiteY0" fmla="*/ 0 h 6316773"/>
              <a:gd name="connsiteX1" fmla="*/ 7144616 w 7144616"/>
              <a:gd name="connsiteY1" fmla="*/ 0 h 6316773"/>
              <a:gd name="connsiteX2" fmla="*/ 7144616 w 7144616"/>
              <a:gd name="connsiteY2" fmla="*/ 6316132 h 6316773"/>
              <a:gd name="connsiteX3" fmla="*/ 537870 w 7144616"/>
              <a:gd name="connsiteY3" fmla="*/ 6316773 h 6316773"/>
              <a:gd name="connsiteX4" fmla="*/ 0 w 7144616"/>
              <a:gd name="connsiteY4" fmla="*/ 5779942 h 6316773"/>
              <a:gd name="connsiteX5" fmla="*/ 2940 w 7144616"/>
              <a:gd name="connsiteY5" fmla="*/ 0 h 6316773"/>
              <a:gd name="connsiteX0" fmla="*/ 2940 w 7144616"/>
              <a:gd name="connsiteY0" fmla="*/ 0 h 6316773"/>
              <a:gd name="connsiteX1" fmla="*/ 7144616 w 7144616"/>
              <a:gd name="connsiteY1" fmla="*/ 0 h 6316773"/>
              <a:gd name="connsiteX2" fmla="*/ 7144616 w 7144616"/>
              <a:gd name="connsiteY2" fmla="*/ 6316132 h 6316773"/>
              <a:gd name="connsiteX3" fmla="*/ 537870 w 7144616"/>
              <a:gd name="connsiteY3" fmla="*/ 6316773 h 6316773"/>
              <a:gd name="connsiteX4" fmla="*/ 0 w 7144616"/>
              <a:gd name="connsiteY4" fmla="*/ 5779942 h 6316773"/>
              <a:gd name="connsiteX5" fmla="*/ 2940 w 7144616"/>
              <a:gd name="connsiteY5" fmla="*/ 0 h 6316773"/>
              <a:gd name="connsiteX0" fmla="*/ 2940 w 7144616"/>
              <a:gd name="connsiteY0" fmla="*/ 0 h 6316773"/>
              <a:gd name="connsiteX1" fmla="*/ 7144616 w 7144616"/>
              <a:gd name="connsiteY1" fmla="*/ 0 h 6316773"/>
              <a:gd name="connsiteX2" fmla="*/ 7144616 w 7144616"/>
              <a:gd name="connsiteY2" fmla="*/ 6316132 h 6316773"/>
              <a:gd name="connsiteX3" fmla="*/ 537870 w 7144616"/>
              <a:gd name="connsiteY3" fmla="*/ 6316773 h 6316773"/>
              <a:gd name="connsiteX4" fmla="*/ 0 w 7144616"/>
              <a:gd name="connsiteY4" fmla="*/ 5779942 h 6316773"/>
              <a:gd name="connsiteX5" fmla="*/ 2940 w 7144616"/>
              <a:gd name="connsiteY5" fmla="*/ 0 h 6316773"/>
              <a:gd name="connsiteX0" fmla="*/ 2940 w 7144616"/>
              <a:gd name="connsiteY0" fmla="*/ 0 h 6316773"/>
              <a:gd name="connsiteX1" fmla="*/ 7144616 w 7144616"/>
              <a:gd name="connsiteY1" fmla="*/ 0 h 6316773"/>
              <a:gd name="connsiteX2" fmla="*/ 7144616 w 7144616"/>
              <a:gd name="connsiteY2" fmla="*/ 6316132 h 6316773"/>
              <a:gd name="connsiteX3" fmla="*/ 537870 w 7144616"/>
              <a:gd name="connsiteY3" fmla="*/ 6316773 h 6316773"/>
              <a:gd name="connsiteX4" fmla="*/ 0 w 7144616"/>
              <a:gd name="connsiteY4" fmla="*/ 5779942 h 6316773"/>
              <a:gd name="connsiteX5" fmla="*/ 2940 w 7144616"/>
              <a:gd name="connsiteY5" fmla="*/ 0 h 631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44616" h="6316773">
                <a:moveTo>
                  <a:pt x="2940" y="0"/>
                </a:moveTo>
                <a:lnTo>
                  <a:pt x="7144616" y="0"/>
                </a:lnTo>
                <a:lnTo>
                  <a:pt x="7144616" y="6316132"/>
                </a:lnTo>
                <a:lnTo>
                  <a:pt x="537870" y="6316773"/>
                </a:lnTo>
                <a:cubicBezTo>
                  <a:pt x="214457" y="6313295"/>
                  <a:pt x="5024" y="6140981"/>
                  <a:pt x="0" y="5779942"/>
                </a:cubicBezTo>
                <a:lnTo>
                  <a:pt x="2940" y="0"/>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sp>
        <p:nvSpPr>
          <p:cNvPr id="112"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Feb 2024</a:t>
            </a:r>
          </a:p>
        </p:txBody>
      </p:sp>
      <p:sp>
        <p:nvSpPr>
          <p:cNvPr id="113"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a:t>
            </a:r>
          </a:p>
        </p:txBody>
      </p:sp>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5840" y="517459"/>
            <a:ext cx="1887660" cy="1887660"/>
          </a:xfrm>
          <a:prstGeom prst="rect">
            <a:avLst/>
          </a:prstGeom>
          <a:ln>
            <a:noFill/>
          </a:ln>
        </p:spPr>
      </p:pic>
    </p:spTree>
    <p:extLst>
      <p:ext uri="{BB962C8B-B14F-4D97-AF65-F5344CB8AC3E}">
        <p14:creationId xmlns:p14="http://schemas.microsoft.com/office/powerpoint/2010/main" val="3000825017"/>
      </p:ext>
    </p:extLst>
  </p:cSld>
  <p:clrMapOvr>
    <a:masterClrMapping/>
  </p:clrMapOvr>
  <p:transition/>
  <p:hf hdr="0" ftr="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Q&amp;A - Opttion 2">
    <p:spTree>
      <p:nvGrpSpPr>
        <p:cNvPr id="1" name=""/>
        <p:cNvGrpSpPr/>
        <p:nvPr/>
      </p:nvGrpSpPr>
      <p:grpSpPr>
        <a:xfrm>
          <a:off x="0" y="0"/>
          <a:ext cx="0" cy="0"/>
          <a:chOff x="0" y="0"/>
          <a:chExt cx="0" cy="0"/>
        </a:xfrm>
      </p:grpSpPr>
      <p:pic>
        <p:nvPicPr>
          <p:cNvPr id="14" name="Picture 13"/>
          <p:cNvPicPr>
            <a:picLocks noChangeAspect="1"/>
          </p:cNvPicPr>
          <p:nvPr/>
        </p:nvPicPr>
        <p:blipFill rotWithShape="1">
          <a:blip r:embed="rId2">
            <a:extLst>
              <a:ext uri="{28A0092B-C50C-407E-A947-70E740481C1C}">
                <a14:useLocalDpi xmlns:a14="http://schemas.microsoft.com/office/drawing/2010/main" val="0"/>
              </a:ext>
            </a:extLst>
          </a:blip>
          <a:srcRect t="21234" r="47297" b="27130"/>
          <a:stretch/>
        </p:blipFill>
        <p:spPr>
          <a:xfrm>
            <a:off x="5207633" y="0"/>
            <a:ext cx="6999607" cy="6858000"/>
          </a:xfrm>
          <a:prstGeom prst="rect">
            <a:avLst/>
          </a:prstGeom>
        </p:spPr>
      </p:pic>
      <p:sp>
        <p:nvSpPr>
          <p:cNvPr id="24" name="Title 1"/>
          <p:cNvSpPr>
            <a:spLocks noGrp="1"/>
          </p:cNvSpPr>
          <p:nvPr>
            <p:ph type="title" hasCustomPrompt="1"/>
          </p:nvPr>
        </p:nvSpPr>
        <p:spPr>
          <a:xfrm>
            <a:off x="766800" y="4169538"/>
            <a:ext cx="5187472" cy="1362075"/>
          </a:xfrm>
          <a:prstGeom prst="rect">
            <a:avLst/>
          </a:prstGeom>
        </p:spPr>
        <p:txBody>
          <a:bodyPr lIns="0" tIns="0" rIns="0" bIns="0"/>
          <a:lstStyle>
            <a:lvl1pPr algn="l">
              <a:defRPr sz="1400" b="0" cap="none" baseline="0">
                <a:solidFill>
                  <a:schemeClr val="tx1"/>
                </a:solidFill>
                <a:latin typeface="ShellMedium" panose="00000600000000000000" pitchFamily="2" charset="0"/>
              </a:defRPr>
            </a:lvl1pPr>
          </a:lstStyle>
          <a:p>
            <a:r>
              <a:rPr lang="en-GB" dirty="0"/>
              <a:t>Click to edit Master title style, if required</a:t>
            </a:r>
          </a:p>
        </p:txBody>
      </p:sp>
      <p:sp>
        <p:nvSpPr>
          <p:cNvPr id="25" name="Text Placeholder 2"/>
          <p:cNvSpPr>
            <a:spLocks noGrp="1"/>
          </p:cNvSpPr>
          <p:nvPr>
            <p:ph type="body" idx="1" hasCustomPrompt="1"/>
          </p:nvPr>
        </p:nvSpPr>
        <p:spPr>
          <a:xfrm>
            <a:off x="766800" y="2548468"/>
            <a:ext cx="6375761" cy="1400214"/>
          </a:xfrm>
          <a:prstGeom prst="rect">
            <a:avLst/>
          </a:prstGeom>
        </p:spPr>
        <p:txBody>
          <a:bodyPr lIns="0" tIns="0" rIns="0" bIns="0" anchor="t" anchorCtr="0"/>
          <a:lstStyle>
            <a:lvl1pPr marL="0" indent="0">
              <a:lnSpc>
                <a:spcPct val="100000"/>
              </a:lnSpc>
              <a:spcAft>
                <a:spcPts val="0"/>
              </a:spcAft>
              <a:buNone/>
              <a:defRPr sz="9600" b="0" cap="none" baseline="0">
                <a:solidFill>
                  <a:schemeClr val="accent2"/>
                </a:solidFill>
                <a:latin typeface="ShellHeavy" panose="00000700000000000000" pitchFamily="2" charset="0"/>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GB" dirty="0"/>
              <a:t>Q&amp;A</a:t>
            </a:r>
          </a:p>
        </p:txBody>
      </p:sp>
      <p:sp>
        <p:nvSpPr>
          <p:cNvPr id="2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Feb 2024</a:t>
            </a:r>
          </a:p>
        </p:txBody>
      </p:sp>
      <p:sp>
        <p:nvSpPr>
          <p:cNvPr id="2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29"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a:t>
            </a:r>
          </a:p>
        </p:txBody>
      </p:sp>
    </p:spTree>
    <p:extLst>
      <p:ext uri="{BB962C8B-B14F-4D97-AF65-F5344CB8AC3E}">
        <p14:creationId xmlns:p14="http://schemas.microsoft.com/office/powerpoint/2010/main" val="157126043"/>
      </p:ext>
    </p:extLst>
  </p:cSld>
  <p:clrMapOvr>
    <a:masterClrMapping/>
  </p:clrMapOvr>
  <p:transition/>
  <p:hf hdr="0" ftr="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a:t>
            </a:r>
          </a:p>
        </p:txBody>
      </p:sp>
      <p:sp>
        <p:nvSpPr>
          <p:cNvPr id="1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Feb 2024</a:t>
            </a:r>
          </a:p>
        </p:txBody>
      </p:sp>
      <p:sp>
        <p:nvSpPr>
          <p:cNvPr id="1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12" name="Text Box 11" descr="&lt;COMPANY_NAME&gt;&#10;"/>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ShellMedium" panose="00000600000000000000" pitchFamily="50" charset="0"/>
                <a:cs typeface="Arial" pitchFamily="34" charset="0"/>
              </a:rPr>
              <a:t>SPDC</a:t>
            </a:r>
          </a:p>
        </p:txBody>
      </p:sp>
    </p:spTree>
    <p:extLst>
      <p:ext uri="{BB962C8B-B14F-4D97-AF65-F5344CB8AC3E}">
        <p14:creationId xmlns:p14="http://schemas.microsoft.com/office/powerpoint/2010/main" val="1738015869"/>
      </p:ext>
    </p:extLst>
  </p:cSld>
  <p:clrMapOvr>
    <a:masterClrMapping/>
  </p:clrMapOvr>
  <p:transition/>
  <p:hf hdr="0" ftr="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End Slide (Mandatory)">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50208" y="1257010"/>
            <a:ext cx="4316400" cy="4316400"/>
          </a:xfrm>
          <a:prstGeom prst="rect">
            <a:avLst/>
          </a:prstGeom>
        </p:spPr>
      </p:pic>
    </p:spTree>
    <p:extLst>
      <p:ext uri="{BB962C8B-B14F-4D97-AF65-F5344CB8AC3E}">
        <p14:creationId xmlns:p14="http://schemas.microsoft.com/office/powerpoint/2010/main" val="1325999754"/>
      </p:ext>
    </p:extLst>
  </p:cSld>
  <p:clrMapOvr>
    <a:masterClrMapping/>
  </p:clrMapOvr>
  <p:transition/>
  <p:hf hdr="0" ftr="0"/>
  <p:extLst>
    <p:ext uri="{DCECCB84-F9BA-43D5-87BE-67443E8EF086}">
      <p15:sldGuideLst xmlns:p15="http://schemas.microsoft.com/office/powerpoint/2012/main">
        <p15:guide id="1"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Option 3">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bwMode="auto">
          <a:xfrm>
            <a:off x="5077731" y="1015519"/>
            <a:ext cx="7115469" cy="5344822"/>
          </a:xfrm>
          <a:custGeom>
            <a:avLst/>
            <a:gdLst>
              <a:gd name="connsiteX0" fmla="*/ 0 w 7113204"/>
              <a:gd name="connsiteY0" fmla="*/ 0 h 5343523"/>
              <a:gd name="connsiteX1" fmla="*/ 7113204 w 7113204"/>
              <a:gd name="connsiteY1" fmla="*/ 0 h 5343523"/>
              <a:gd name="connsiteX2" fmla="*/ 7113204 w 7113204"/>
              <a:gd name="connsiteY2" fmla="*/ 5343523 h 5343523"/>
              <a:gd name="connsiteX3" fmla="*/ 0 w 7113204"/>
              <a:gd name="connsiteY3" fmla="*/ 5343523 h 5343523"/>
              <a:gd name="connsiteX4" fmla="*/ 0 w 7113204"/>
              <a:gd name="connsiteY4" fmla="*/ 0 h 5343523"/>
              <a:gd name="connsiteX0" fmla="*/ 0 w 7113204"/>
              <a:gd name="connsiteY0" fmla="*/ 0 h 5344338"/>
              <a:gd name="connsiteX1" fmla="*/ 7113204 w 7113204"/>
              <a:gd name="connsiteY1" fmla="*/ 0 h 5344338"/>
              <a:gd name="connsiteX2" fmla="*/ 7113204 w 7113204"/>
              <a:gd name="connsiteY2" fmla="*/ 5343523 h 5344338"/>
              <a:gd name="connsiteX3" fmla="*/ 503508 w 7113204"/>
              <a:gd name="connsiteY3" fmla="*/ 5344338 h 5344338"/>
              <a:gd name="connsiteX4" fmla="*/ 0 w 7113204"/>
              <a:gd name="connsiteY4" fmla="*/ 5343523 h 5344338"/>
              <a:gd name="connsiteX5" fmla="*/ 0 w 7113204"/>
              <a:gd name="connsiteY5" fmla="*/ 0 h 5344338"/>
              <a:gd name="connsiteX0" fmla="*/ 0 w 7113204"/>
              <a:gd name="connsiteY0" fmla="*/ 0 h 5344338"/>
              <a:gd name="connsiteX1" fmla="*/ 7113204 w 7113204"/>
              <a:gd name="connsiteY1" fmla="*/ 0 h 5344338"/>
              <a:gd name="connsiteX2" fmla="*/ 7113204 w 7113204"/>
              <a:gd name="connsiteY2" fmla="*/ 5343523 h 5344338"/>
              <a:gd name="connsiteX3" fmla="*/ 503508 w 7113204"/>
              <a:gd name="connsiteY3" fmla="*/ 5344338 h 5344338"/>
              <a:gd name="connsiteX4" fmla="*/ 0 w 7113204"/>
              <a:gd name="connsiteY4" fmla="*/ 5343523 h 5344338"/>
              <a:gd name="connsiteX5" fmla="*/ 1802 w 7113204"/>
              <a:gd name="connsiteY5" fmla="*/ 4810262 h 5344338"/>
              <a:gd name="connsiteX6" fmla="*/ 0 w 7113204"/>
              <a:gd name="connsiteY6" fmla="*/ 0 h 5344338"/>
              <a:gd name="connsiteX0" fmla="*/ 0 w 7113204"/>
              <a:gd name="connsiteY0" fmla="*/ 0 h 5344338"/>
              <a:gd name="connsiteX1" fmla="*/ 7113204 w 7113204"/>
              <a:gd name="connsiteY1" fmla="*/ 0 h 5344338"/>
              <a:gd name="connsiteX2" fmla="*/ 7113204 w 7113204"/>
              <a:gd name="connsiteY2" fmla="*/ 5343523 h 5344338"/>
              <a:gd name="connsiteX3" fmla="*/ 503508 w 7113204"/>
              <a:gd name="connsiteY3" fmla="*/ 5344338 h 5344338"/>
              <a:gd name="connsiteX4" fmla="*/ 1802 w 7113204"/>
              <a:gd name="connsiteY4" fmla="*/ 4810262 h 5344338"/>
              <a:gd name="connsiteX5" fmla="*/ 0 w 7113204"/>
              <a:gd name="connsiteY5" fmla="*/ 0 h 5344338"/>
              <a:gd name="connsiteX0" fmla="*/ 0 w 7113204"/>
              <a:gd name="connsiteY0" fmla="*/ 0 h 5344338"/>
              <a:gd name="connsiteX1" fmla="*/ 7113204 w 7113204"/>
              <a:gd name="connsiteY1" fmla="*/ 0 h 5344338"/>
              <a:gd name="connsiteX2" fmla="*/ 7113204 w 7113204"/>
              <a:gd name="connsiteY2" fmla="*/ 5343523 h 5344338"/>
              <a:gd name="connsiteX3" fmla="*/ 503508 w 7113204"/>
              <a:gd name="connsiteY3" fmla="*/ 5344338 h 5344338"/>
              <a:gd name="connsiteX4" fmla="*/ 1802 w 7113204"/>
              <a:gd name="connsiteY4" fmla="*/ 4810262 h 5344338"/>
              <a:gd name="connsiteX5" fmla="*/ 0 w 7113204"/>
              <a:gd name="connsiteY5" fmla="*/ 0 h 5344338"/>
              <a:gd name="connsiteX0" fmla="*/ 0 w 7113204"/>
              <a:gd name="connsiteY0" fmla="*/ 0 h 5344338"/>
              <a:gd name="connsiteX1" fmla="*/ 7113204 w 7113204"/>
              <a:gd name="connsiteY1" fmla="*/ 0 h 5344338"/>
              <a:gd name="connsiteX2" fmla="*/ 7113204 w 7113204"/>
              <a:gd name="connsiteY2" fmla="*/ 5343523 h 5344338"/>
              <a:gd name="connsiteX3" fmla="*/ 503508 w 7113204"/>
              <a:gd name="connsiteY3" fmla="*/ 5344338 h 5344338"/>
              <a:gd name="connsiteX4" fmla="*/ 1802 w 7113204"/>
              <a:gd name="connsiteY4" fmla="*/ 4810262 h 5344338"/>
              <a:gd name="connsiteX5" fmla="*/ 0 w 7113204"/>
              <a:gd name="connsiteY5" fmla="*/ 0 h 5344338"/>
              <a:gd name="connsiteX0" fmla="*/ 0 w 7113204"/>
              <a:gd name="connsiteY0" fmla="*/ 0 h 5344338"/>
              <a:gd name="connsiteX1" fmla="*/ 7113204 w 7113204"/>
              <a:gd name="connsiteY1" fmla="*/ 0 h 5344338"/>
              <a:gd name="connsiteX2" fmla="*/ 7113204 w 7113204"/>
              <a:gd name="connsiteY2" fmla="*/ 5343523 h 5344338"/>
              <a:gd name="connsiteX3" fmla="*/ 503508 w 7113204"/>
              <a:gd name="connsiteY3" fmla="*/ 5344338 h 5344338"/>
              <a:gd name="connsiteX4" fmla="*/ 1802 w 7113204"/>
              <a:gd name="connsiteY4" fmla="*/ 4810262 h 5344338"/>
              <a:gd name="connsiteX5" fmla="*/ 0 w 7113204"/>
              <a:gd name="connsiteY5" fmla="*/ 0 h 5344338"/>
              <a:gd name="connsiteX0" fmla="*/ 0 w 7113204"/>
              <a:gd name="connsiteY0" fmla="*/ 0 h 5344338"/>
              <a:gd name="connsiteX1" fmla="*/ 7113204 w 7113204"/>
              <a:gd name="connsiteY1" fmla="*/ 0 h 5344338"/>
              <a:gd name="connsiteX2" fmla="*/ 7113204 w 7113204"/>
              <a:gd name="connsiteY2" fmla="*/ 5343523 h 5344338"/>
              <a:gd name="connsiteX3" fmla="*/ 503508 w 7113204"/>
              <a:gd name="connsiteY3" fmla="*/ 5344338 h 5344338"/>
              <a:gd name="connsiteX4" fmla="*/ 1802 w 7113204"/>
              <a:gd name="connsiteY4" fmla="*/ 4810262 h 5344338"/>
              <a:gd name="connsiteX5" fmla="*/ 0 w 7113204"/>
              <a:gd name="connsiteY5" fmla="*/ 0 h 5344338"/>
              <a:gd name="connsiteX0" fmla="*/ 0 w 7113204"/>
              <a:gd name="connsiteY0" fmla="*/ 453 h 5344791"/>
              <a:gd name="connsiteX1" fmla="*/ 519692 w 7113204"/>
              <a:gd name="connsiteY1" fmla="*/ 0 h 5344791"/>
              <a:gd name="connsiteX2" fmla="*/ 7113204 w 7113204"/>
              <a:gd name="connsiteY2" fmla="*/ 453 h 5344791"/>
              <a:gd name="connsiteX3" fmla="*/ 7113204 w 7113204"/>
              <a:gd name="connsiteY3" fmla="*/ 5343976 h 5344791"/>
              <a:gd name="connsiteX4" fmla="*/ 503508 w 7113204"/>
              <a:gd name="connsiteY4" fmla="*/ 5344791 h 5344791"/>
              <a:gd name="connsiteX5" fmla="*/ 1802 w 7113204"/>
              <a:gd name="connsiteY5" fmla="*/ 4810715 h 5344791"/>
              <a:gd name="connsiteX6" fmla="*/ 0 w 7113204"/>
              <a:gd name="connsiteY6" fmla="*/ 453 h 5344791"/>
              <a:gd name="connsiteX0" fmla="*/ 39320 w 7152524"/>
              <a:gd name="connsiteY0" fmla="*/ 48299 h 5392637"/>
              <a:gd name="connsiteX1" fmla="*/ 559012 w 7152524"/>
              <a:gd name="connsiteY1" fmla="*/ 47846 h 5392637"/>
              <a:gd name="connsiteX2" fmla="*/ 7152524 w 7152524"/>
              <a:gd name="connsiteY2" fmla="*/ 48299 h 5392637"/>
              <a:gd name="connsiteX3" fmla="*/ 7152524 w 7152524"/>
              <a:gd name="connsiteY3" fmla="*/ 5391822 h 5392637"/>
              <a:gd name="connsiteX4" fmla="*/ 542828 w 7152524"/>
              <a:gd name="connsiteY4" fmla="*/ 5392637 h 5392637"/>
              <a:gd name="connsiteX5" fmla="*/ 41122 w 7152524"/>
              <a:gd name="connsiteY5" fmla="*/ 4858561 h 5392637"/>
              <a:gd name="connsiteX6" fmla="*/ 37076 w 7152524"/>
              <a:gd name="connsiteY6" fmla="*/ 496955 h 5392637"/>
              <a:gd name="connsiteX7" fmla="*/ 39320 w 7152524"/>
              <a:gd name="connsiteY7" fmla="*/ 48299 h 5392637"/>
              <a:gd name="connsiteX0" fmla="*/ 155497 w 7270945"/>
              <a:gd name="connsiteY0" fmla="*/ 497244 h 5392926"/>
              <a:gd name="connsiteX1" fmla="*/ 677433 w 7270945"/>
              <a:gd name="connsiteY1" fmla="*/ 48135 h 5392926"/>
              <a:gd name="connsiteX2" fmla="*/ 7270945 w 7270945"/>
              <a:gd name="connsiteY2" fmla="*/ 48588 h 5392926"/>
              <a:gd name="connsiteX3" fmla="*/ 7270945 w 7270945"/>
              <a:gd name="connsiteY3" fmla="*/ 5392111 h 5392926"/>
              <a:gd name="connsiteX4" fmla="*/ 661249 w 7270945"/>
              <a:gd name="connsiteY4" fmla="*/ 5392926 h 5392926"/>
              <a:gd name="connsiteX5" fmla="*/ 159543 w 7270945"/>
              <a:gd name="connsiteY5" fmla="*/ 4858850 h 5392926"/>
              <a:gd name="connsiteX6" fmla="*/ 155497 w 7270945"/>
              <a:gd name="connsiteY6" fmla="*/ 497244 h 5392926"/>
              <a:gd name="connsiteX0" fmla="*/ 155497 w 7270945"/>
              <a:gd name="connsiteY0" fmla="*/ 497244 h 5392926"/>
              <a:gd name="connsiteX1" fmla="*/ 677433 w 7270945"/>
              <a:gd name="connsiteY1" fmla="*/ 48135 h 5392926"/>
              <a:gd name="connsiteX2" fmla="*/ 7270945 w 7270945"/>
              <a:gd name="connsiteY2" fmla="*/ 48588 h 5392926"/>
              <a:gd name="connsiteX3" fmla="*/ 7270945 w 7270945"/>
              <a:gd name="connsiteY3" fmla="*/ 5392111 h 5392926"/>
              <a:gd name="connsiteX4" fmla="*/ 661249 w 7270945"/>
              <a:gd name="connsiteY4" fmla="*/ 5392926 h 5392926"/>
              <a:gd name="connsiteX5" fmla="*/ 159543 w 7270945"/>
              <a:gd name="connsiteY5" fmla="*/ 4858850 h 5392926"/>
              <a:gd name="connsiteX6" fmla="*/ 155497 w 7270945"/>
              <a:gd name="connsiteY6" fmla="*/ 497244 h 5392926"/>
              <a:gd name="connsiteX0" fmla="*/ 155497 w 7270945"/>
              <a:gd name="connsiteY0" fmla="*/ 497244 h 5392926"/>
              <a:gd name="connsiteX1" fmla="*/ 677433 w 7270945"/>
              <a:gd name="connsiteY1" fmla="*/ 48135 h 5392926"/>
              <a:gd name="connsiteX2" fmla="*/ 7270945 w 7270945"/>
              <a:gd name="connsiteY2" fmla="*/ 48588 h 5392926"/>
              <a:gd name="connsiteX3" fmla="*/ 7270945 w 7270945"/>
              <a:gd name="connsiteY3" fmla="*/ 5392111 h 5392926"/>
              <a:gd name="connsiteX4" fmla="*/ 661249 w 7270945"/>
              <a:gd name="connsiteY4" fmla="*/ 5392926 h 5392926"/>
              <a:gd name="connsiteX5" fmla="*/ 159543 w 7270945"/>
              <a:gd name="connsiteY5" fmla="*/ 4858850 h 5392926"/>
              <a:gd name="connsiteX6" fmla="*/ 155497 w 7270945"/>
              <a:gd name="connsiteY6" fmla="*/ 497244 h 5392926"/>
              <a:gd name="connsiteX0" fmla="*/ 155497 w 7270945"/>
              <a:gd name="connsiteY0" fmla="*/ 497244 h 5392926"/>
              <a:gd name="connsiteX1" fmla="*/ 677433 w 7270945"/>
              <a:gd name="connsiteY1" fmla="*/ 48135 h 5392926"/>
              <a:gd name="connsiteX2" fmla="*/ 7270945 w 7270945"/>
              <a:gd name="connsiteY2" fmla="*/ 48588 h 5392926"/>
              <a:gd name="connsiteX3" fmla="*/ 7270945 w 7270945"/>
              <a:gd name="connsiteY3" fmla="*/ 5392111 h 5392926"/>
              <a:gd name="connsiteX4" fmla="*/ 661249 w 7270945"/>
              <a:gd name="connsiteY4" fmla="*/ 5392926 h 5392926"/>
              <a:gd name="connsiteX5" fmla="*/ 159543 w 7270945"/>
              <a:gd name="connsiteY5" fmla="*/ 4858850 h 5392926"/>
              <a:gd name="connsiteX6" fmla="*/ 155497 w 7270945"/>
              <a:gd name="connsiteY6" fmla="*/ 497244 h 5392926"/>
              <a:gd name="connsiteX0" fmla="*/ 184805 w 7300253"/>
              <a:gd name="connsiteY0" fmla="*/ 449109 h 5344791"/>
              <a:gd name="connsiteX1" fmla="*/ 706741 w 7300253"/>
              <a:gd name="connsiteY1" fmla="*/ 0 h 5344791"/>
              <a:gd name="connsiteX2" fmla="*/ 7300253 w 7300253"/>
              <a:gd name="connsiteY2" fmla="*/ 453 h 5344791"/>
              <a:gd name="connsiteX3" fmla="*/ 7300253 w 7300253"/>
              <a:gd name="connsiteY3" fmla="*/ 5343976 h 5344791"/>
              <a:gd name="connsiteX4" fmla="*/ 690557 w 7300253"/>
              <a:gd name="connsiteY4" fmla="*/ 5344791 h 5344791"/>
              <a:gd name="connsiteX5" fmla="*/ 188851 w 7300253"/>
              <a:gd name="connsiteY5" fmla="*/ 4810715 h 5344791"/>
              <a:gd name="connsiteX6" fmla="*/ 184805 w 7300253"/>
              <a:gd name="connsiteY6" fmla="*/ 449109 h 5344791"/>
              <a:gd name="connsiteX0" fmla="*/ 155498 w 7270946"/>
              <a:gd name="connsiteY0" fmla="*/ 497244 h 5392926"/>
              <a:gd name="connsiteX1" fmla="*/ 677434 w 7270946"/>
              <a:gd name="connsiteY1" fmla="*/ 48135 h 5392926"/>
              <a:gd name="connsiteX2" fmla="*/ 7270946 w 7270946"/>
              <a:gd name="connsiteY2" fmla="*/ 48588 h 5392926"/>
              <a:gd name="connsiteX3" fmla="*/ 7270946 w 7270946"/>
              <a:gd name="connsiteY3" fmla="*/ 5392111 h 5392926"/>
              <a:gd name="connsiteX4" fmla="*/ 661250 w 7270946"/>
              <a:gd name="connsiteY4" fmla="*/ 5392926 h 5392926"/>
              <a:gd name="connsiteX5" fmla="*/ 159544 w 7270946"/>
              <a:gd name="connsiteY5" fmla="*/ 4858850 h 5392926"/>
              <a:gd name="connsiteX6" fmla="*/ 155498 w 7270946"/>
              <a:gd name="connsiteY6" fmla="*/ 497244 h 5392926"/>
              <a:gd name="connsiteX0" fmla="*/ 37199 w 7152647"/>
              <a:gd name="connsiteY0" fmla="*/ 527190 h 5422872"/>
              <a:gd name="connsiteX1" fmla="*/ 559135 w 7152647"/>
              <a:gd name="connsiteY1" fmla="*/ 78081 h 5422872"/>
              <a:gd name="connsiteX2" fmla="*/ 7152647 w 7152647"/>
              <a:gd name="connsiteY2" fmla="*/ 78534 h 5422872"/>
              <a:gd name="connsiteX3" fmla="*/ 7152647 w 7152647"/>
              <a:gd name="connsiteY3" fmla="*/ 5422057 h 5422872"/>
              <a:gd name="connsiteX4" fmla="*/ 542951 w 7152647"/>
              <a:gd name="connsiteY4" fmla="*/ 5422872 h 5422872"/>
              <a:gd name="connsiteX5" fmla="*/ 41245 w 7152647"/>
              <a:gd name="connsiteY5" fmla="*/ 4888796 h 5422872"/>
              <a:gd name="connsiteX6" fmla="*/ 37199 w 7152647"/>
              <a:gd name="connsiteY6" fmla="*/ 527190 h 5422872"/>
              <a:gd name="connsiteX0" fmla="*/ 27 w 7115475"/>
              <a:gd name="connsiteY0" fmla="*/ 522980 h 5418662"/>
              <a:gd name="connsiteX1" fmla="*/ 521963 w 7115475"/>
              <a:gd name="connsiteY1" fmla="*/ 73871 h 5418662"/>
              <a:gd name="connsiteX2" fmla="*/ 7115475 w 7115475"/>
              <a:gd name="connsiteY2" fmla="*/ 74324 h 5418662"/>
              <a:gd name="connsiteX3" fmla="*/ 7115475 w 7115475"/>
              <a:gd name="connsiteY3" fmla="*/ 5417847 h 5418662"/>
              <a:gd name="connsiteX4" fmla="*/ 505779 w 7115475"/>
              <a:gd name="connsiteY4" fmla="*/ 5418662 h 5418662"/>
              <a:gd name="connsiteX5" fmla="*/ 4073 w 7115475"/>
              <a:gd name="connsiteY5" fmla="*/ 4884586 h 5418662"/>
              <a:gd name="connsiteX6" fmla="*/ 27 w 7115475"/>
              <a:gd name="connsiteY6" fmla="*/ 522980 h 5418662"/>
              <a:gd name="connsiteX0" fmla="*/ 161 w 7115609"/>
              <a:gd name="connsiteY0" fmla="*/ 449127 h 5344809"/>
              <a:gd name="connsiteX1" fmla="*/ 522097 w 7115609"/>
              <a:gd name="connsiteY1" fmla="*/ 18 h 5344809"/>
              <a:gd name="connsiteX2" fmla="*/ 7115609 w 7115609"/>
              <a:gd name="connsiteY2" fmla="*/ 471 h 5344809"/>
              <a:gd name="connsiteX3" fmla="*/ 7115609 w 7115609"/>
              <a:gd name="connsiteY3" fmla="*/ 5343994 h 5344809"/>
              <a:gd name="connsiteX4" fmla="*/ 505913 w 7115609"/>
              <a:gd name="connsiteY4" fmla="*/ 5344809 h 5344809"/>
              <a:gd name="connsiteX5" fmla="*/ 4207 w 7115609"/>
              <a:gd name="connsiteY5" fmla="*/ 4810733 h 5344809"/>
              <a:gd name="connsiteX6" fmla="*/ 161 w 7115609"/>
              <a:gd name="connsiteY6" fmla="*/ 449127 h 5344809"/>
              <a:gd name="connsiteX0" fmla="*/ 196 w 7115644"/>
              <a:gd name="connsiteY0" fmla="*/ 449124 h 5344806"/>
              <a:gd name="connsiteX1" fmla="*/ 522132 w 7115644"/>
              <a:gd name="connsiteY1" fmla="*/ 15 h 5344806"/>
              <a:gd name="connsiteX2" fmla="*/ 7115644 w 7115644"/>
              <a:gd name="connsiteY2" fmla="*/ 468 h 5344806"/>
              <a:gd name="connsiteX3" fmla="*/ 7115644 w 7115644"/>
              <a:gd name="connsiteY3" fmla="*/ 5343991 h 5344806"/>
              <a:gd name="connsiteX4" fmla="*/ 505948 w 7115644"/>
              <a:gd name="connsiteY4" fmla="*/ 5344806 h 5344806"/>
              <a:gd name="connsiteX5" fmla="*/ 4242 w 7115644"/>
              <a:gd name="connsiteY5" fmla="*/ 4810730 h 5344806"/>
              <a:gd name="connsiteX6" fmla="*/ 196 w 7115644"/>
              <a:gd name="connsiteY6" fmla="*/ 449124 h 5344806"/>
              <a:gd name="connsiteX0" fmla="*/ 196 w 7115644"/>
              <a:gd name="connsiteY0" fmla="*/ 449132 h 5344814"/>
              <a:gd name="connsiteX1" fmla="*/ 522132 w 7115644"/>
              <a:gd name="connsiteY1" fmla="*/ 23 h 5344814"/>
              <a:gd name="connsiteX2" fmla="*/ 7115644 w 7115644"/>
              <a:gd name="connsiteY2" fmla="*/ 476 h 5344814"/>
              <a:gd name="connsiteX3" fmla="*/ 7115644 w 7115644"/>
              <a:gd name="connsiteY3" fmla="*/ 5343999 h 5344814"/>
              <a:gd name="connsiteX4" fmla="*/ 505948 w 7115644"/>
              <a:gd name="connsiteY4" fmla="*/ 5344814 h 5344814"/>
              <a:gd name="connsiteX5" fmla="*/ 4242 w 7115644"/>
              <a:gd name="connsiteY5" fmla="*/ 4810738 h 5344814"/>
              <a:gd name="connsiteX6" fmla="*/ 196 w 7115644"/>
              <a:gd name="connsiteY6" fmla="*/ 449132 h 5344814"/>
              <a:gd name="connsiteX0" fmla="*/ 21 w 7115469"/>
              <a:gd name="connsiteY0" fmla="*/ 449140 h 5344822"/>
              <a:gd name="connsiteX1" fmla="*/ 521957 w 7115469"/>
              <a:gd name="connsiteY1" fmla="*/ 31 h 5344822"/>
              <a:gd name="connsiteX2" fmla="*/ 7115469 w 7115469"/>
              <a:gd name="connsiteY2" fmla="*/ 484 h 5344822"/>
              <a:gd name="connsiteX3" fmla="*/ 7115469 w 7115469"/>
              <a:gd name="connsiteY3" fmla="*/ 5344007 h 5344822"/>
              <a:gd name="connsiteX4" fmla="*/ 505773 w 7115469"/>
              <a:gd name="connsiteY4" fmla="*/ 5344822 h 5344822"/>
              <a:gd name="connsiteX5" fmla="*/ 4067 w 7115469"/>
              <a:gd name="connsiteY5" fmla="*/ 4810746 h 5344822"/>
              <a:gd name="connsiteX6" fmla="*/ 21 w 7115469"/>
              <a:gd name="connsiteY6" fmla="*/ 449140 h 5344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5469" h="5344822">
                <a:moveTo>
                  <a:pt x="21" y="449140"/>
                </a:moveTo>
                <a:cubicBezTo>
                  <a:pt x="-2303" y="101747"/>
                  <a:pt x="197851" y="-2068"/>
                  <a:pt x="521957" y="31"/>
                </a:cubicBezTo>
                <a:lnTo>
                  <a:pt x="7115469" y="484"/>
                </a:lnTo>
                <a:lnTo>
                  <a:pt x="7115469" y="5344007"/>
                </a:lnTo>
                <a:lnTo>
                  <a:pt x="505773" y="5344822"/>
                </a:lnTo>
                <a:cubicBezTo>
                  <a:pt x="180743" y="5344822"/>
                  <a:pt x="1369" y="5166796"/>
                  <a:pt x="4067" y="4810746"/>
                </a:cubicBezTo>
                <a:cubicBezTo>
                  <a:pt x="4741" y="4820187"/>
                  <a:pt x="2345" y="796533"/>
                  <a:pt x="21" y="449140"/>
                </a:cubicBez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102" name="Rectangle 2"/>
          <p:cNvSpPr>
            <a:spLocks noGrp="1" noChangeArrowheads="1"/>
          </p:cNvSpPr>
          <p:nvPr>
            <p:ph type="ctrTitle"/>
          </p:nvPr>
        </p:nvSpPr>
        <p:spPr>
          <a:xfrm>
            <a:off x="766800" y="2286000"/>
            <a:ext cx="4141630" cy="1386000"/>
          </a:xfrm>
          <a:noFill/>
        </p:spPr>
        <p:txBody>
          <a:bodyPr lIns="0" tIns="0" rIns="0" anchor="b" anchorCtr="0"/>
          <a:lstStyle>
            <a:lvl1pPr>
              <a:lnSpc>
                <a:spcPct val="110000"/>
              </a:lnSpc>
              <a:defRPr sz="36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766800" y="3805199"/>
            <a:ext cx="4036789" cy="748800"/>
          </a:xfrm>
        </p:spPr>
        <p:txBody>
          <a:bodyPr anchor="t" anchorCtr="0"/>
          <a:lstStyle>
            <a:lvl1pPr marL="0" indent="0">
              <a:lnSpc>
                <a:spcPct val="100000"/>
              </a:lnSpc>
              <a:spcBef>
                <a:spcPct val="0"/>
              </a:spcBef>
              <a:spcAft>
                <a:spcPts val="0"/>
              </a:spcAft>
              <a:buFont typeface="Wingdings" pitchFamily="2" charset="2"/>
              <a:buNone/>
              <a:defRPr sz="20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766800" y="4831200"/>
            <a:ext cx="4043018" cy="237600"/>
          </a:xfrm>
        </p:spPr>
        <p:txBody>
          <a:bodyPr anchor="t" anchorCtr="0"/>
          <a:lstStyle>
            <a:lvl1pPr>
              <a:lnSpc>
                <a:spcPct val="100000"/>
              </a:lnSpc>
              <a:buNone/>
              <a:defRPr sz="1400">
                <a:solidFill>
                  <a:schemeClr val="tx1"/>
                </a:solidFill>
                <a:latin typeface="ShellHeavy" panose="00000700000000000000" pitchFamily="2" charset="0"/>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766800" y="5083200"/>
            <a:ext cx="4043018" cy="489600"/>
          </a:xfrm>
        </p:spPr>
        <p:txBody>
          <a:bodyPr anchor="t" anchorCtr="0"/>
          <a:lstStyle>
            <a:lvl1pPr>
              <a:lnSpc>
                <a:spcPct val="100000"/>
              </a:lnSpc>
              <a:buNone/>
              <a:defRPr sz="1400">
                <a:solidFill>
                  <a:schemeClr val="tx1"/>
                </a:solidFill>
                <a:latin typeface="ShellMedium" panose="00000600000000000000" pitchFamily="2" charset="0"/>
              </a:defRPr>
            </a:lvl1pPr>
          </a:lstStyle>
          <a:p>
            <a:pPr lvl="0"/>
            <a:r>
              <a:rPr lang="en-GB" noProof="1"/>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Feb 2024</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a:t>
            </a:r>
          </a:p>
        </p:txBody>
      </p:sp>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5840" y="517459"/>
            <a:ext cx="1887660" cy="1887660"/>
          </a:xfrm>
          <a:prstGeom prst="rect">
            <a:avLst/>
          </a:prstGeom>
          <a:ln>
            <a:noFill/>
          </a:ln>
        </p:spPr>
      </p:pic>
      <p:sp>
        <p:nvSpPr>
          <p:cNvPr id="12" name="Text Box 11" descr="&lt;COMPANY_NAME&gt;&#10;"/>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ShellMedium" panose="00000600000000000000" pitchFamily="50" charset="0"/>
                <a:cs typeface="Arial" pitchFamily="34" charset="0"/>
              </a:rPr>
              <a:t>SPDC</a:t>
            </a:r>
          </a:p>
        </p:txBody>
      </p:sp>
    </p:spTree>
    <p:extLst>
      <p:ext uri="{BB962C8B-B14F-4D97-AF65-F5344CB8AC3E}">
        <p14:creationId xmlns:p14="http://schemas.microsoft.com/office/powerpoint/2010/main" val="533086575"/>
      </p:ext>
    </p:extLst>
  </p:cSld>
  <p:clrMapOvr>
    <a:masterClrMapping/>
  </p:clrMapOvr>
  <p:transition/>
  <p:hf hdr="0" ftr="0"/>
  <p:extLst>
    <p:ext uri="{DCECCB84-F9BA-43D5-87BE-67443E8EF086}">
      <p15:sldGuideLst xmlns:p15="http://schemas.microsoft.com/office/powerpoint/2012/main">
        <p15:guide id="1" orient="horz" pos="3058">
          <p15:clr>
            <a:srgbClr val="FBAE40"/>
          </p15:clr>
        </p15:guide>
        <p15:guide id="2" orient="horz" pos="2235">
          <p15:clr>
            <a:srgbClr val="FBAE40"/>
          </p15:clr>
        </p15:guide>
        <p15:guide id="3" orient="horz" pos="2562">
          <p15:clr>
            <a:srgbClr val="FBAE40"/>
          </p15:clr>
        </p15:guide>
        <p15:guide id="4" orient="horz" pos="299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 Option 4">
    <p:spTree>
      <p:nvGrpSpPr>
        <p:cNvPr id="1" name=""/>
        <p:cNvGrpSpPr/>
        <p:nvPr/>
      </p:nvGrpSpPr>
      <p:grpSpPr>
        <a:xfrm>
          <a:off x="0" y="0"/>
          <a:ext cx="0" cy="0"/>
          <a:chOff x="0" y="0"/>
          <a:chExt cx="0" cy="0"/>
        </a:xfrm>
      </p:grpSpPr>
      <p:sp>
        <p:nvSpPr>
          <p:cNvPr id="3" name="Picture Placeholder 2" descr="&lt;ignore&gt;"/>
          <p:cNvSpPr>
            <a:spLocks noGrp="1"/>
          </p:cNvSpPr>
          <p:nvPr>
            <p:ph type="pic" sz="quarter" idx="12"/>
          </p:nvPr>
        </p:nvSpPr>
        <p:spPr bwMode="auto">
          <a:xfrm>
            <a:off x="0" y="0"/>
            <a:ext cx="12194723" cy="6857999"/>
          </a:xfrm>
          <a:prstGeom prst="rect">
            <a:avLst/>
          </a:prstGeom>
          <a:noFill/>
          <a:ln w="9525" algn="ctr">
            <a:noFill/>
            <a:miter lim="800000"/>
            <a:headEnd/>
            <a:tailEnd/>
          </a:ln>
        </p:spPr>
        <p:txBody>
          <a:bodyPr/>
          <a:lstStyle>
            <a:lvl1pPr>
              <a:defRPr sz="2133"/>
            </a:lvl1pPr>
          </a:lstStyle>
          <a:p>
            <a:r>
              <a:rPr lang="en-US"/>
              <a:t>Click icon to add picture</a:t>
            </a:r>
            <a:endParaRPr lang="en-GB" dirty="0"/>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102" name="Rectangle 2"/>
          <p:cNvSpPr>
            <a:spLocks noGrp="1" noChangeArrowheads="1"/>
          </p:cNvSpPr>
          <p:nvPr>
            <p:ph type="ctrTitle"/>
          </p:nvPr>
        </p:nvSpPr>
        <p:spPr>
          <a:xfrm>
            <a:off x="766800" y="2754000"/>
            <a:ext cx="9972000" cy="918000"/>
          </a:xfrm>
          <a:noFill/>
        </p:spPr>
        <p:txBody>
          <a:bodyPr lIns="0" tIns="0" rIns="0" anchor="b" anchorCtr="0"/>
          <a:lstStyle>
            <a:lvl1pPr>
              <a:lnSpc>
                <a:spcPct val="100000"/>
              </a:lnSpc>
              <a:defRPr sz="36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766800" y="3805200"/>
            <a:ext cx="9975600" cy="748800"/>
          </a:xfrm>
        </p:spPr>
        <p:txBody>
          <a:bodyPr anchor="t" anchorCtr="0"/>
          <a:lstStyle>
            <a:lvl1pPr marL="0" indent="0">
              <a:lnSpc>
                <a:spcPct val="90000"/>
              </a:lnSpc>
              <a:spcBef>
                <a:spcPct val="0"/>
              </a:spcBef>
              <a:spcAft>
                <a:spcPts val="0"/>
              </a:spcAft>
              <a:buFont typeface="Wingdings" pitchFamily="2" charset="2"/>
              <a:buNone/>
              <a:defRPr sz="20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766800" y="4831200"/>
            <a:ext cx="7869600" cy="237600"/>
          </a:xfrm>
        </p:spPr>
        <p:txBody>
          <a:bodyPr anchor="t" anchorCtr="0"/>
          <a:lstStyle>
            <a:lvl1pPr>
              <a:lnSpc>
                <a:spcPct val="100000"/>
              </a:lnSpc>
              <a:buNone/>
              <a:defRPr sz="1400">
                <a:solidFill>
                  <a:schemeClr val="tx1"/>
                </a:solidFill>
                <a:latin typeface="ShellHeavy" panose="00000700000000000000" pitchFamily="2" charset="0"/>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766800" y="5083200"/>
            <a:ext cx="7869600" cy="237600"/>
          </a:xfrm>
        </p:spPr>
        <p:txBody>
          <a:bodyPr anchor="t" anchorCtr="0"/>
          <a:lstStyle>
            <a:lvl1pPr>
              <a:lnSpc>
                <a:spcPct val="100000"/>
              </a:lnSpc>
              <a:buNone/>
              <a:defRPr sz="1400">
                <a:solidFill>
                  <a:schemeClr val="tx1"/>
                </a:solidFill>
                <a:latin typeface="ShellMedium" panose="00000600000000000000" pitchFamily="2" charset="0"/>
              </a:defRPr>
            </a:lvl1pPr>
          </a:lstStyle>
          <a:p>
            <a:pPr lvl="0"/>
            <a:r>
              <a:rPr lang="en-GB" noProof="1"/>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Feb 2024</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a:t>
            </a:r>
          </a:p>
        </p:txBody>
      </p:sp>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5840" y="517459"/>
            <a:ext cx="1887660" cy="1887660"/>
          </a:xfrm>
          <a:prstGeom prst="rect">
            <a:avLst/>
          </a:prstGeom>
          <a:ln>
            <a:noFill/>
          </a:ln>
        </p:spPr>
      </p:pic>
      <p:sp>
        <p:nvSpPr>
          <p:cNvPr id="12" name="Text Box 11" descr="&lt;COMPANY_NAME&gt;&#10;"/>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ShellMedium" panose="00000600000000000000" pitchFamily="50" charset="0"/>
                <a:cs typeface="Arial" pitchFamily="34" charset="0"/>
              </a:rPr>
              <a:t>SPDC</a:t>
            </a:r>
          </a:p>
        </p:txBody>
      </p:sp>
    </p:spTree>
    <p:extLst>
      <p:ext uri="{BB962C8B-B14F-4D97-AF65-F5344CB8AC3E}">
        <p14:creationId xmlns:p14="http://schemas.microsoft.com/office/powerpoint/2010/main" val="1557108051"/>
      </p:ext>
    </p:extLst>
  </p:cSld>
  <p:clrMapOvr>
    <a:masterClrMapping/>
  </p:clrMapOvr>
  <p:transition/>
  <p:hf hdr="0" ftr="0"/>
  <p:extLst>
    <p:ext uri="{DCECCB84-F9BA-43D5-87BE-67443E8EF086}">
      <p15:sldGuideLst xmlns:p15="http://schemas.microsoft.com/office/powerpoint/2012/main">
        <p15:guide id="1" orient="horz" pos="3058">
          <p15:clr>
            <a:srgbClr val="FBAE40"/>
          </p15:clr>
        </p15:guide>
        <p15:guide id="2" orient="horz" pos="223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80802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latin typeface="+mj-lt"/>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765174" y="1665288"/>
            <a:ext cx="10914063" cy="4694236"/>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59000" indent="-228600" defTabSz="357708">
              <a:lnSpc>
                <a:spcPct val="140000"/>
              </a:lnSpc>
              <a:spcBef>
                <a:spcPts val="0"/>
              </a:spcBef>
              <a:buClr>
                <a:schemeClr val="accent2"/>
              </a:buClr>
              <a:buSzPct val="100000"/>
              <a:buFont typeface="Wingdings" panose="05000000000000000000" pitchFamily="2" charset="2"/>
              <a:buChar char=""/>
              <a:defRPr sz="1800"/>
            </a:lvl3pPr>
            <a:lvl4pPr marL="687600" indent="-228600" defTabSz="357708">
              <a:lnSpc>
                <a:spcPct val="140000"/>
              </a:lnSpc>
              <a:spcBef>
                <a:spcPts val="0"/>
              </a:spcBef>
              <a:buClr>
                <a:schemeClr val="tx1"/>
              </a:buClr>
              <a:buSzPct val="100000"/>
              <a:buFont typeface="Wingdings" panose="05000000000000000000" pitchFamily="2" charset="2"/>
              <a:buChar char=""/>
              <a:defRPr sz="1600"/>
            </a:lvl4pPr>
            <a:lvl5pPr marL="890800" indent="-203200" defTabSz="357708">
              <a:lnSpc>
                <a:spcPct val="140000"/>
              </a:lnSpc>
              <a:spcBef>
                <a:spcPts val="0"/>
              </a:spcBef>
              <a:buClr>
                <a:schemeClr val="tx1"/>
              </a:buClr>
              <a:buSzPct val="100000"/>
              <a:buFont typeface="Wingdings" panose="05000000000000000000" pitchFamily="2" charset="2"/>
              <a:buChar char=""/>
              <a:defRPr sz="1400"/>
            </a:lvl5pPr>
            <a:lvl6pPr marL="1043200" indent="-152400" defTabSz="357708">
              <a:lnSpc>
                <a:spcPct val="140000"/>
              </a:lnSpc>
              <a:buClr>
                <a:schemeClr val="tx1"/>
              </a:buClr>
              <a:buSzPct val="100000"/>
              <a:buFont typeface="Wingdings" panose="05000000000000000000"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Feb 2024</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a:t>
            </a:r>
          </a:p>
        </p:txBody>
      </p:sp>
    </p:spTree>
    <p:extLst>
      <p:ext uri="{BB962C8B-B14F-4D97-AF65-F5344CB8AC3E}">
        <p14:creationId xmlns:p14="http://schemas.microsoft.com/office/powerpoint/2010/main" val="1221159522"/>
      </p:ext>
    </p:extLst>
  </p:cSld>
  <p:clrMapOvr>
    <a:masterClrMapping/>
  </p:clrMapOvr>
  <p:transition/>
  <p:hf hdr="0" ftr="0"/>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 Option 2">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l="1827" t="7660" r="49917" b="6682"/>
          <a:stretch/>
        </p:blipFill>
        <p:spPr>
          <a:xfrm>
            <a:off x="8458199" y="0"/>
            <a:ext cx="3727939" cy="6617454"/>
          </a:xfrm>
          <a:prstGeom prst="rect">
            <a:avLst/>
          </a:prstGeom>
        </p:spPr>
      </p:pic>
      <p:sp>
        <p:nvSpPr>
          <p:cNvPr id="34" name="Rectangle 2"/>
          <p:cNvSpPr>
            <a:spLocks noGrp="1" noChangeArrowheads="1"/>
          </p:cNvSpPr>
          <p:nvPr>
            <p:ph type="title"/>
          </p:nvPr>
        </p:nvSpPr>
        <p:spPr bwMode="auto">
          <a:xfrm>
            <a:off x="508000" y="712800"/>
            <a:ext cx="11171238" cy="80802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latin typeface="+mj-lt"/>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765174" y="1665288"/>
            <a:ext cx="10914063" cy="4694236"/>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59000" indent="-228600" defTabSz="357708">
              <a:lnSpc>
                <a:spcPct val="140000"/>
              </a:lnSpc>
              <a:spcBef>
                <a:spcPts val="0"/>
              </a:spcBef>
              <a:buClr>
                <a:schemeClr val="accent2"/>
              </a:buClr>
              <a:buSzPct val="100000"/>
              <a:buFont typeface="Wingdings" panose="05000000000000000000" pitchFamily="2" charset="2"/>
              <a:buChar char=""/>
              <a:defRPr sz="1800"/>
            </a:lvl3pPr>
            <a:lvl4pPr marL="687600" indent="-228600" defTabSz="357708">
              <a:lnSpc>
                <a:spcPct val="140000"/>
              </a:lnSpc>
              <a:spcBef>
                <a:spcPts val="0"/>
              </a:spcBef>
              <a:buClr>
                <a:schemeClr val="tx1"/>
              </a:buClr>
              <a:buSzPct val="100000"/>
              <a:buFont typeface="Wingdings" panose="05000000000000000000" pitchFamily="2" charset="2"/>
              <a:buChar char=""/>
              <a:defRPr sz="1600"/>
            </a:lvl4pPr>
            <a:lvl5pPr marL="890800" indent="-203200" defTabSz="357708">
              <a:lnSpc>
                <a:spcPct val="140000"/>
              </a:lnSpc>
              <a:spcBef>
                <a:spcPts val="0"/>
              </a:spcBef>
              <a:buClr>
                <a:schemeClr val="tx1"/>
              </a:buClr>
              <a:buSzPct val="100000"/>
              <a:buFont typeface="Wingdings" panose="05000000000000000000" pitchFamily="2" charset="2"/>
              <a:buChar char=""/>
              <a:defRPr sz="1400"/>
            </a:lvl5pPr>
            <a:lvl6pPr marL="1043200" indent="-152400" defTabSz="357708">
              <a:lnSpc>
                <a:spcPct val="140000"/>
              </a:lnSpc>
              <a:buClr>
                <a:schemeClr val="tx1"/>
              </a:buClr>
              <a:buSzPct val="100000"/>
              <a:buFont typeface="Wingdings" panose="05000000000000000000"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Feb 2024</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a:t>
            </a:r>
          </a:p>
        </p:txBody>
      </p:sp>
    </p:spTree>
    <p:extLst>
      <p:ext uri="{BB962C8B-B14F-4D97-AF65-F5344CB8AC3E}">
        <p14:creationId xmlns:p14="http://schemas.microsoft.com/office/powerpoint/2010/main" val="672378722"/>
      </p:ext>
    </p:extLst>
  </p:cSld>
  <p:clrMapOvr>
    <a:masterClrMapping/>
  </p:clrMapOvr>
  <p:transition/>
  <p:hf hdr="0" ftr="0"/>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 Full Screen Image">
    <p:spTree>
      <p:nvGrpSpPr>
        <p:cNvPr id="1" name=""/>
        <p:cNvGrpSpPr/>
        <p:nvPr/>
      </p:nvGrpSpPr>
      <p:grpSpPr>
        <a:xfrm>
          <a:off x="0" y="0"/>
          <a:ext cx="0" cy="0"/>
          <a:chOff x="0" y="0"/>
          <a:chExt cx="0" cy="0"/>
        </a:xfrm>
      </p:grpSpPr>
      <p:sp>
        <p:nvSpPr>
          <p:cNvPr id="11" name="Picture Placeholder 2" descr="&lt;ignore&gt;"/>
          <p:cNvSpPr>
            <a:spLocks noGrp="1"/>
          </p:cNvSpPr>
          <p:nvPr>
            <p:ph type="pic" sz="quarter" idx="12"/>
          </p:nvPr>
        </p:nvSpPr>
        <p:spPr bwMode="auto">
          <a:xfrm>
            <a:off x="-2381" y="0"/>
            <a:ext cx="12194382" cy="6858000"/>
          </a:xfrm>
          <a:prstGeom prst="rect">
            <a:avLst/>
          </a:prstGeom>
          <a:noFill/>
          <a:ln w="3175" algn="ctr">
            <a:noFill/>
            <a:miter lim="800000"/>
            <a:headEnd/>
            <a:tailEnd/>
          </a:ln>
        </p:spPr>
        <p:txBody>
          <a:bodyPr/>
          <a:lstStyle>
            <a:lvl1pPr>
              <a:defRPr sz="2133"/>
            </a:lvl1pPr>
          </a:lstStyle>
          <a:p>
            <a:r>
              <a:rPr lang="en-US"/>
              <a:t>Click icon to add picture</a:t>
            </a:r>
            <a:endParaRPr lang="en-GB" dirty="0"/>
          </a:p>
        </p:txBody>
      </p:sp>
      <p:sp>
        <p:nvSpPr>
          <p:cNvPr id="34" name="Rectangle 2"/>
          <p:cNvSpPr>
            <a:spLocks noGrp="1" noChangeArrowheads="1"/>
          </p:cNvSpPr>
          <p:nvPr>
            <p:ph type="title"/>
          </p:nvPr>
        </p:nvSpPr>
        <p:spPr bwMode="auto">
          <a:xfrm>
            <a:off x="508000" y="712800"/>
            <a:ext cx="11171238" cy="80802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latin typeface="+mj-lt"/>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765174" y="1665288"/>
            <a:ext cx="5211763" cy="4694236"/>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59000" indent="-228600" defTabSz="357708">
              <a:lnSpc>
                <a:spcPct val="140000"/>
              </a:lnSpc>
              <a:spcBef>
                <a:spcPts val="0"/>
              </a:spcBef>
              <a:buClr>
                <a:schemeClr val="accent2"/>
              </a:buClr>
              <a:buSzPct val="100000"/>
              <a:buFont typeface="Wingdings" panose="05000000000000000000" pitchFamily="2" charset="2"/>
              <a:buChar char=""/>
              <a:defRPr sz="1800"/>
            </a:lvl3pPr>
            <a:lvl4pPr marL="687600" indent="-228600" defTabSz="357708">
              <a:lnSpc>
                <a:spcPct val="140000"/>
              </a:lnSpc>
              <a:spcBef>
                <a:spcPts val="0"/>
              </a:spcBef>
              <a:buClr>
                <a:schemeClr val="tx1"/>
              </a:buClr>
              <a:buSzPct val="100000"/>
              <a:buFont typeface="Wingdings" panose="05000000000000000000" pitchFamily="2" charset="2"/>
              <a:buChar char=""/>
              <a:defRPr sz="1600"/>
            </a:lvl4pPr>
            <a:lvl5pPr marL="890800" indent="-203200" defTabSz="357708">
              <a:lnSpc>
                <a:spcPct val="140000"/>
              </a:lnSpc>
              <a:spcBef>
                <a:spcPts val="0"/>
              </a:spcBef>
              <a:buClr>
                <a:schemeClr val="tx1"/>
              </a:buClr>
              <a:buSzPct val="100000"/>
              <a:buFont typeface="Wingdings" panose="05000000000000000000" pitchFamily="2" charset="2"/>
              <a:buChar char=""/>
              <a:defRPr sz="1400"/>
            </a:lvl5pPr>
            <a:lvl6pPr marL="1043200" indent="-152400" defTabSz="357708">
              <a:lnSpc>
                <a:spcPct val="140000"/>
              </a:lnSpc>
              <a:buClr>
                <a:schemeClr val="tx1"/>
              </a:buClr>
              <a:buSzPct val="100000"/>
              <a:buFont typeface="Wingdings" panose="05000000000000000000"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Feb 2024</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a:t>
            </a:r>
          </a:p>
        </p:txBody>
      </p:sp>
    </p:spTree>
    <p:extLst>
      <p:ext uri="{BB962C8B-B14F-4D97-AF65-F5344CB8AC3E}">
        <p14:creationId xmlns:p14="http://schemas.microsoft.com/office/powerpoint/2010/main" val="3797401650"/>
      </p:ext>
    </p:extLst>
  </p:cSld>
  <p:clrMapOvr>
    <a:masterClrMapping/>
  </p:clrMapOvr>
  <p:transition/>
  <p:hf hdr="0" ftr="0"/>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799"/>
            <a:ext cx="11171238" cy="80802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0" kern="1200" cap="none" baseline="0" noProof="0" dirty="0" smtClean="0">
                <a:solidFill>
                  <a:schemeClr val="tx1"/>
                </a:solidFill>
                <a:latin typeface="+mj-lt"/>
                <a:ea typeface="+mj-ea"/>
                <a:cs typeface="+mj-cs"/>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765174" y="1686556"/>
            <a:ext cx="10914063" cy="4672967"/>
          </a:xfrm>
        </p:spPr>
        <p:txBody>
          <a:bodyPr/>
          <a:lstStyle>
            <a:lvl1pPr marL="0" indent="0" defTabSz="357708">
              <a:lnSpc>
                <a:spcPct val="140000"/>
              </a:lnSpc>
              <a:spcBef>
                <a:spcPts val="0"/>
              </a:spcBef>
              <a:defRPr sz="1400"/>
            </a:lvl1pPr>
            <a:lvl2pPr marL="176400" indent="-176400" defTabSz="357708">
              <a:lnSpc>
                <a:spcPct val="140000"/>
              </a:lnSpc>
              <a:spcBef>
                <a:spcPts val="0"/>
              </a:spcBef>
              <a:defRPr sz="1400"/>
            </a:lvl2pPr>
            <a:lvl3pPr marL="354200" indent="-177800" defTabSz="357708">
              <a:lnSpc>
                <a:spcPct val="140000"/>
              </a:lnSpc>
              <a:spcBef>
                <a:spcPts val="0"/>
              </a:spcBef>
              <a:buClr>
                <a:schemeClr val="accent2"/>
              </a:buClr>
              <a:buSzPct val="100000"/>
              <a:buFont typeface="Wingdings" panose="05000000000000000000" pitchFamily="2" charset="2"/>
              <a:buChar char=""/>
              <a:defRPr sz="1400"/>
            </a:lvl3pPr>
            <a:lvl4pPr marL="532000" indent="-177800" defTabSz="357708">
              <a:lnSpc>
                <a:spcPct val="140000"/>
              </a:lnSpc>
              <a:spcBef>
                <a:spcPts val="0"/>
              </a:spcBef>
              <a:buClr>
                <a:schemeClr val="tx1"/>
              </a:buClr>
              <a:buSzPct val="100000"/>
              <a:buFont typeface="Wingdings" panose="05000000000000000000" pitchFamily="2" charset="2"/>
              <a:buChar char=""/>
              <a:defRPr sz="1200"/>
            </a:lvl4pPr>
            <a:lvl5pPr marL="684400" indent="-152400" defTabSz="357708">
              <a:lnSpc>
                <a:spcPct val="140000"/>
              </a:lnSpc>
              <a:spcBef>
                <a:spcPts val="0"/>
              </a:spcBef>
              <a:buClr>
                <a:schemeClr val="tx1"/>
              </a:buClr>
              <a:buSzPct val="100000"/>
              <a:buFont typeface="Wingdings" panose="05000000000000000000" pitchFamily="2" charset="2"/>
              <a:buChar char=""/>
              <a:tabLst/>
              <a:defRPr sz="1100"/>
            </a:lvl5pPr>
            <a:lvl6pPr marL="824100" indent="-139700" defTabSz="357708">
              <a:lnSpc>
                <a:spcPct val="140000"/>
              </a:lnSpc>
              <a:buClr>
                <a:schemeClr val="tx1"/>
              </a:buClr>
              <a:buSzPct val="100000"/>
              <a:buFont typeface="Wingdings" panose="05000000000000000000" pitchFamily="2" charset="2"/>
              <a:buChar char=""/>
              <a:defRPr sz="10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Feb 2024</a:t>
            </a:r>
          </a:p>
        </p:txBody>
      </p:sp>
      <p:sp>
        <p:nvSpPr>
          <p:cNvPr id="1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1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a:t>
            </a:r>
          </a:p>
        </p:txBody>
      </p:sp>
    </p:spTree>
    <p:extLst>
      <p:ext uri="{BB962C8B-B14F-4D97-AF65-F5344CB8AC3E}">
        <p14:creationId xmlns:p14="http://schemas.microsoft.com/office/powerpoint/2010/main" val="3911267412"/>
      </p:ext>
    </p:extLst>
  </p:cSld>
  <p:clrMapOvr>
    <a:masterClrMapping/>
  </p:clrMapOvr>
  <p:transition/>
  <p:hf hdr="0" ft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l="1827" t="31706" r="31262" b="6682"/>
          <a:stretch/>
        </p:blipFill>
        <p:spPr>
          <a:xfrm>
            <a:off x="9355015" y="0"/>
            <a:ext cx="2831124" cy="2606898"/>
          </a:xfrm>
          <a:prstGeom prst="rect">
            <a:avLst/>
          </a:prstGeom>
        </p:spPr>
      </p:pic>
      <p:sp>
        <p:nvSpPr>
          <p:cNvPr id="34" name="Rectangle 2"/>
          <p:cNvSpPr>
            <a:spLocks noGrp="1" noChangeArrowheads="1"/>
          </p:cNvSpPr>
          <p:nvPr>
            <p:ph type="title"/>
          </p:nvPr>
        </p:nvSpPr>
        <p:spPr bwMode="auto">
          <a:xfrm>
            <a:off x="508000" y="712800"/>
            <a:ext cx="11171238" cy="80802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0" kern="1200" cap="none" baseline="0" noProof="0" dirty="0" smtClean="0">
                <a:solidFill>
                  <a:schemeClr val="tx1"/>
                </a:solidFill>
                <a:latin typeface="+mj-lt"/>
                <a:ea typeface="+mj-ea"/>
                <a:cs typeface="+mj-cs"/>
              </a:defRPr>
            </a:lvl1pPr>
          </a:lstStyle>
          <a:p>
            <a:pPr lvl="0"/>
            <a:r>
              <a:rPr lang="en-US"/>
              <a:t>Click to edit Master title style</a:t>
            </a:r>
            <a:endParaRPr lang="en-GB" dirty="0"/>
          </a:p>
        </p:txBody>
      </p:sp>
      <p:sp>
        <p:nvSpPr>
          <p:cNvPr id="10" name="Content Placeholder 14"/>
          <p:cNvSpPr>
            <a:spLocks noGrp="1"/>
          </p:cNvSpPr>
          <p:nvPr>
            <p:ph sz="quarter" idx="13"/>
          </p:nvPr>
        </p:nvSpPr>
        <p:spPr>
          <a:xfrm>
            <a:off x="6472014" y="1666800"/>
            <a:ext cx="5207223" cy="4694237"/>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75000"/>
              <a:buFont typeface="Wingdings" panose="05000000000000000000" pitchFamily="2" charset="2"/>
              <a:buChar char="¢"/>
              <a:defRPr sz="1800"/>
            </a:lvl2pPr>
            <a:lvl3pPr marL="459000" indent="-228600">
              <a:spcBef>
                <a:spcPts val="0"/>
              </a:spcBef>
              <a:spcAft>
                <a:spcPts val="0"/>
              </a:spcAft>
              <a:buClr>
                <a:schemeClr val="accent2"/>
              </a:buClr>
              <a:buFont typeface="Wingdings" panose="05000000000000000000" pitchFamily="2" charset="2"/>
              <a:buChar char=""/>
              <a:defRPr sz="1800"/>
            </a:lvl3pPr>
            <a:lvl4pPr marL="687600" indent="-228600">
              <a:spcBef>
                <a:spcPts val="0"/>
              </a:spcBef>
              <a:spcAft>
                <a:spcPts val="0"/>
              </a:spcAft>
              <a:buClr>
                <a:schemeClr val="tx1"/>
              </a:buClr>
              <a:buFont typeface="Wingdings" panose="05000000000000000000" pitchFamily="2" charset="2"/>
              <a:buChar char=""/>
              <a:defRPr sz="1800"/>
            </a:lvl4pPr>
            <a:lvl5pPr marL="890800" indent="-203200">
              <a:spcBef>
                <a:spcPts val="0"/>
              </a:spcBef>
              <a:spcAft>
                <a:spcPts val="0"/>
              </a:spcAft>
              <a:buClr>
                <a:schemeClr val="tx1"/>
              </a:buClr>
              <a:buFont typeface="Wingdings" panose="05000000000000000000" pitchFamily="2" charset="2"/>
              <a:buChar char=""/>
              <a:defRPr sz="1600"/>
            </a:lvl5pPr>
            <a:lvl6pPr marL="1043200" indent="-152400">
              <a:spcBef>
                <a:spcPts val="0"/>
              </a:spcBef>
              <a:spcAft>
                <a:spcPts val="0"/>
              </a:spcAft>
              <a:buClr>
                <a:schemeClr val="tx1"/>
              </a:buClr>
              <a:buFont typeface="Wingdings" panose="05000000000000000000"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765174" y="1666800"/>
            <a:ext cx="5211763" cy="4694239"/>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75000"/>
              <a:buFont typeface="Wingdings" panose="05000000000000000000" pitchFamily="2" charset="2"/>
              <a:buChar char=""/>
              <a:defRPr sz="1800"/>
            </a:lvl2pPr>
            <a:lvl3pPr marL="459000" indent="-228600">
              <a:spcAft>
                <a:spcPts val="0"/>
              </a:spcAft>
              <a:buClr>
                <a:schemeClr val="accent2"/>
              </a:buClr>
              <a:buFont typeface="Wingdings" panose="05000000000000000000" pitchFamily="2" charset="2"/>
              <a:buChar char=""/>
              <a:defRPr sz="1800"/>
            </a:lvl3pPr>
            <a:lvl4pPr marL="687600" indent="-228600">
              <a:spcBef>
                <a:spcPts val="0"/>
              </a:spcBef>
              <a:spcAft>
                <a:spcPts val="0"/>
              </a:spcAft>
              <a:buClr>
                <a:schemeClr val="tx1"/>
              </a:buClr>
              <a:buFont typeface="Wingdings" panose="05000000000000000000" pitchFamily="2" charset="2"/>
              <a:buChar char=""/>
              <a:defRPr sz="1800"/>
            </a:lvl4pPr>
            <a:lvl5pPr marL="890800" indent="-203200">
              <a:spcBef>
                <a:spcPts val="0"/>
              </a:spcBef>
              <a:spcAft>
                <a:spcPts val="0"/>
              </a:spcAft>
              <a:buClr>
                <a:schemeClr val="tx1"/>
              </a:buClr>
              <a:buFont typeface="Wingdings" panose="05000000000000000000" pitchFamily="2" charset="2"/>
              <a:buChar char=""/>
              <a:defRPr sz="1600"/>
            </a:lvl5pPr>
            <a:lvl6pPr marL="1043200" indent="-152400">
              <a:spcBef>
                <a:spcPts val="0"/>
              </a:spcBef>
              <a:spcAft>
                <a:spcPts val="0"/>
              </a:spcAft>
              <a:buClr>
                <a:schemeClr val="tx1"/>
              </a:buClr>
              <a:buFont typeface="Wingdings" panose="05000000000000000000"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Feb 2024</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a:t>
            </a:r>
          </a:p>
        </p:txBody>
      </p:sp>
    </p:spTree>
    <p:extLst>
      <p:ext uri="{BB962C8B-B14F-4D97-AF65-F5344CB8AC3E}">
        <p14:creationId xmlns:p14="http://schemas.microsoft.com/office/powerpoint/2010/main" val="499689269"/>
      </p:ext>
    </p:extLst>
  </p:cSld>
  <p:clrMapOvr>
    <a:masterClrMapping/>
  </p:clrMapOvr>
  <p:transition/>
  <p:hf hdr="0" ftr="0"/>
  <p:extLst>
    <p:ext uri="{DCECCB84-F9BA-43D5-87BE-67443E8EF086}">
      <p15:sldGuideLst xmlns:p15="http://schemas.microsoft.com/office/powerpoint/2012/main">
        <p15:guide id="1" pos="3840">
          <p15:clr>
            <a:srgbClr val="FBAE40"/>
          </p15:clr>
        </p15:guide>
        <p15:guide id="2" pos="3765">
          <p15:clr>
            <a:srgbClr val="FBAE40"/>
          </p15:clr>
        </p15:guide>
        <p15:guide id="3" pos="3915">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40722DF-949B-E69B-DCAE-F56642B4A141}"/>
              </a:ext>
            </a:extLst>
          </p:cNvPr>
          <p:cNvGraphicFramePr>
            <a:graphicFrameLocks noChangeAspect="1"/>
          </p:cNvGraphicFramePr>
          <p:nvPr userDrawn="1">
            <p:custDataLst>
              <p:tags r:id="rId24"/>
            </p:custDataLst>
            <p:extLst>
              <p:ext uri="{D42A27DB-BD31-4B8C-83A1-F6EECF244321}">
                <p14:modId xmlns:p14="http://schemas.microsoft.com/office/powerpoint/2010/main" val="2745654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04" imgH="403" progId="TCLayout.ActiveDocument.1">
                  <p:embed/>
                </p:oleObj>
              </mc:Choice>
              <mc:Fallback>
                <p:oleObj name="think-cell Slide" r:id="rId25" imgW="404" imgH="403" progId="TCLayout.ActiveDocument.1">
                  <p:embed/>
                  <p:pic>
                    <p:nvPicPr>
                      <p:cNvPr id="3" name="think-cell data - do not delete" hidden="1">
                        <a:extLst>
                          <a:ext uri="{FF2B5EF4-FFF2-40B4-BE49-F238E27FC236}">
                            <a16:creationId xmlns:a16="http://schemas.microsoft.com/office/drawing/2014/main" id="{D40722DF-949B-E69B-DCAE-F56642B4A141}"/>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15" name="Rectangle 3"/>
          <p:cNvSpPr>
            <a:spLocks noGrp="1" noChangeArrowheads="1"/>
          </p:cNvSpPr>
          <p:nvPr>
            <p:ph type="body" idx="1"/>
          </p:nvPr>
        </p:nvSpPr>
        <p:spPr bwMode="auto">
          <a:xfrm>
            <a:off x="765175" y="1665289"/>
            <a:ext cx="10914062" cy="469418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2"/>
          <p:cNvSpPr>
            <a:spLocks noGrp="1" noChangeArrowheads="1"/>
          </p:cNvSpPr>
          <p:nvPr>
            <p:ph type="title"/>
          </p:nvPr>
        </p:nvSpPr>
        <p:spPr bwMode="auto">
          <a:xfrm>
            <a:off x="508000" y="712800"/>
            <a:ext cx="11171238" cy="80802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dirty="0"/>
          </a:p>
        </p:txBody>
      </p:sp>
      <p:sp>
        <p:nvSpPr>
          <p:cNvPr id="4" name="Rectangle 3" descr="&lt;Shell Yellow Bar&gt;" title="&lt;Shell Yellow Bar&gt;"/>
          <p:cNvSpPr/>
          <p:nvPr/>
        </p:nvSpPr>
        <p:spPr bwMode="gray">
          <a:xfrm>
            <a:off x="-6201" y="508000"/>
            <a:ext cx="1269984" cy="38100"/>
          </a:xfrm>
          <a:prstGeom prst="rect">
            <a:avLst/>
          </a:prstGeom>
          <a:solidFill>
            <a:srgbClr val="FFC600"/>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8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50">
                <a:solidFill>
                  <a:schemeClr val="tx1"/>
                </a:solidFill>
                <a:latin typeface="ShellMedium" panose="00000600000000000000" pitchFamily="50" charset="0"/>
                <a:cs typeface="Arial" pitchFamily="34" charset="0"/>
              </a:defRPr>
            </a:lvl1pPr>
          </a:lstStyle>
          <a:p>
            <a:pPr>
              <a:defRPr/>
            </a:pPr>
            <a:r>
              <a:rPr lang="en-GB" noProof="1"/>
              <a:t>Footer</a:t>
            </a:r>
          </a:p>
        </p:txBody>
      </p:sp>
      <p:sp>
        <p:nvSpPr>
          <p:cNvPr id="83"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Feb 2024</a:t>
            </a:r>
          </a:p>
        </p:txBody>
      </p:sp>
      <p:sp>
        <p:nvSpPr>
          <p:cNvPr id="8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84" name="Text Box 11" descr="&lt;COMPANY_NAME&gt;&#10;"/>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ShellMedium" panose="00000600000000000000" pitchFamily="50" charset="0"/>
                <a:cs typeface="Arial" pitchFamily="34" charset="0"/>
              </a:rPr>
              <a:t>SPDC</a:t>
            </a:r>
          </a:p>
        </p:txBody>
      </p:sp>
      <p:sp>
        <p:nvSpPr>
          <p:cNvPr id="95" name="Rectangle 94" descr="&lt;Shell Yellow Bar&gt;" title="&lt;Shell Yellow Bar&gt;"/>
          <p:cNvSpPr/>
          <p:nvPr/>
        </p:nvSpPr>
        <p:spPr bwMode="gray">
          <a:xfrm>
            <a:off x="-3222" y="6820523"/>
            <a:ext cx="12193200" cy="38100"/>
          </a:xfrm>
          <a:prstGeom prst="rect">
            <a:avLst/>
          </a:prstGeom>
          <a:solidFill>
            <a:srgbClr val="FFC600"/>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95131502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Lst>
  <p:transition>
    <p:fade/>
  </p:transition>
  <p:hf hdr="0" ftr="0"/>
  <p:txStyles>
    <p:titleStyle>
      <a:lvl1pPr algn="l" defTabSz="1219170" rtl="0" eaLnBrk="1" latinLnBrk="0" hangingPunct="1">
        <a:lnSpc>
          <a:spcPct val="90000"/>
        </a:lnSpc>
        <a:spcBef>
          <a:spcPct val="0"/>
        </a:spcBef>
        <a:buNone/>
        <a:defRPr sz="2800" b="0" kern="1200" cap="none" baseline="0">
          <a:solidFill>
            <a:schemeClr val="tx1"/>
          </a:solidFill>
          <a:latin typeface="+mj-lt"/>
          <a:ea typeface="+mj-ea"/>
          <a:cs typeface="+mj-cs"/>
        </a:defRPr>
      </a:lvl1pPr>
    </p:titleStyle>
    <p:body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800" kern="1200" baseline="0">
          <a:solidFill>
            <a:schemeClr val="tx1"/>
          </a:solidFill>
          <a:latin typeface="+mn-lt"/>
          <a:ea typeface="+mn-ea"/>
          <a:cs typeface="+mn-cs"/>
        </a:defRPr>
      </a:lvl1pPr>
      <a:lvl2pPr marL="230400" indent="-230400" algn="l" defTabSz="357708" rtl="0" eaLnBrk="1" latinLnBrk="0" hangingPunct="1">
        <a:lnSpc>
          <a:spcPct val="140000"/>
        </a:lnSpc>
        <a:spcBef>
          <a:spcPts val="0"/>
        </a:spcBef>
        <a:spcAft>
          <a:spcPts val="0"/>
        </a:spcAft>
        <a:buClr>
          <a:schemeClr val="accent2"/>
        </a:buClr>
        <a:buSzPct val="75000"/>
        <a:buFont typeface="Wingdings" panose="05000000000000000000" pitchFamily="2" charset="2"/>
        <a:buChar char=""/>
        <a:defRPr sz="1800" b="0" kern="1200">
          <a:solidFill>
            <a:schemeClr val="tx1"/>
          </a:solidFill>
          <a:latin typeface="+mn-lt"/>
          <a:ea typeface="+mn-ea"/>
          <a:cs typeface="+mn-cs"/>
        </a:defRPr>
      </a:lvl2pPr>
      <a:lvl3pPr marL="459000" indent="-228600" algn="l" defTabSz="357708" rtl="0" eaLnBrk="1" latinLnBrk="0" hangingPunct="1">
        <a:lnSpc>
          <a:spcPct val="140000"/>
        </a:lnSpc>
        <a:spcBef>
          <a:spcPts val="0"/>
        </a:spcBef>
        <a:spcAft>
          <a:spcPts val="0"/>
        </a:spcAft>
        <a:buClr>
          <a:schemeClr val="accent2"/>
        </a:buClr>
        <a:buSzPct val="100000"/>
        <a:buFont typeface="Wingdings" panose="05000000000000000000" pitchFamily="2" charset="2"/>
        <a:buChar char=""/>
        <a:defRPr sz="1800" b="0" kern="1200">
          <a:solidFill>
            <a:schemeClr val="tx1"/>
          </a:solidFill>
          <a:latin typeface="+mn-lt"/>
          <a:ea typeface="+mn-ea"/>
          <a:cs typeface="+mn-cs"/>
        </a:defRPr>
      </a:lvl3pPr>
      <a:lvl4pPr marL="687600" indent="-228600" algn="l" defTabSz="357708" rtl="0" eaLnBrk="1" latinLnBrk="0" hangingPunct="1">
        <a:lnSpc>
          <a:spcPct val="140000"/>
        </a:lnSpc>
        <a:spcBef>
          <a:spcPts val="0"/>
        </a:spcBef>
        <a:spcAft>
          <a:spcPts val="0"/>
        </a:spcAft>
        <a:buClr>
          <a:schemeClr val="tx1"/>
        </a:buClr>
        <a:buSzPct val="100000"/>
        <a:buFont typeface="Wingdings" panose="05000000000000000000" pitchFamily="2" charset="2"/>
        <a:buChar char=""/>
        <a:defRPr sz="1600" b="0" kern="1200" baseline="0">
          <a:solidFill>
            <a:schemeClr val="tx1"/>
          </a:solidFill>
          <a:latin typeface="+mn-lt"/>
          <a:ea typeface="+mn-ea"/>
          <a:cs typeface="+mn-cs"/>
        </a:defRPr>
      </a:lvl4pPr>
      <a:lvl5pPr marL="890800" indent="-203200" algn="l" defTabSz="357708" rtl="0" eaLnBrk="1" latinLnBrk="0" hangingPunct="1">
        <a:lnSpc>
          <a:spcPct val="140000"/>
        </a:lnSpc>
        <a:spcBef>
          <a:spcPts val="0"/>
        </a:spcBef>
        <a:spcAft>
          <a:spcPts val="0"/>
        </a:spcAft>
        <a:buClr>
          <a:schemeClr val="tx1"/>
        </a:buClr>
        <a:buSzPct val="100000"/>
        <a:buFont typeface="Wingdings" panose="05000000000000000000" pitchFamily="2" charset="2"/>
        <a:buChar char=""/>
        <a:defRPr sz="1400" kern="1200">
          <a:solidFill>
            <a:schemeClr val="tx1"/>
          </a:solidFill>
          <a:latin typeface="+mn-lt"/>
          <a:ea typeface="+mn-ea"/>
          <a:cs typeface="+mn-cs"/>
        </a:defRPr>
      </a:lvl5pPr>
      <a:lvl6pPr marL="1043200" indent="-152400" algn="l" defTabSz="357708" rtl="0" eaLnBrk="1" latinLnBrk="0" hangingPunct="1">
        <a:lnSpc>
          <a:spcPct val="140000"/>
        </a:lnSpc>
        <a:spcBef>
          <a:spcPts val="0"/>
        </a:spcBef>
        <a:spcAft>
          <a:spcPts val="0"/>
        </a:spcAft>
        <a:buClr>
          <a:schemeClr val="tx1"/>
        </a:buClr>
        <a:buSzPct val="100000"/>
        <a:buFont typeface="Wingdings" panose="05000000000000000000"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20">
          <p15:clr>
            <a:srgbClr val="F26B43"/>
          </p15:clr>
        </p15:guide>
        <p15:guide id="3" pos="7357">
          <p15:clr>
            <a:srgbClr val="F26B43"/>
          </p15:clr>
        </p15:guide>
        <p15:guide id="4" orient="horz" pos="444">
          <p15:clr>
            <a:srgbClr val="F26B43"/>
          </p15:clr>
        </p15:guide>
        <p15:guide id="5" orient="horz" pos="1049">
          <p15:clr>
            <a:srgbClr val="F26B43"/>
          </p15:clr>
        </p15:guide>
        <p15:guide id="6" orient="horz" pos="958">
          <p15:clr>
            <a:srgbClr val="F26B43"/>
          </p15:clr>
        </p15:guide>
        <p15:guide id="7" orient="horz" pos="4071">
          <p15:clr>
            <a:srgbClr val="F26B43"/>
          </p15:clr>
        </p15:guide>
        <p15:guide id="8" orient="horz" pos="4006">
          <p15:clr>
            <a:srgbClr val="F26B43"/>
          </p15:clr>
        </p15:guide>
        <p15:guide id="9" pos="3765">
          <p15:clr>
            <a:srgbClr val="F26B43"/>
          </p15:clr>
        </p15:guide>
        <p15:guide id="10" pos="3915">
          <p15:clr>
            <a:srgbClr val="F26B43"/>
          </p15:clr>
        </p15:guide>
        <p15:guide id="11" orient="horz" pos="320">
          <p15:clr>
            <a:srgbClr val="F26B43"/>
          </p15:clr>
        </p15:guide>
        <p15:guide id="12" orient="horz" pos="368">
          <p15:clr>
            <a:srgbClr val="F26B43"/>
          </p15:clr>
        </p15:guide>
        <p15:guide id="13" pos="1118">
          <p15:clr>
            <a:srgbClr val="F26B43"/>
          </p15:clr>
        </p15:guide>
        <p15:guide id="14" orient="horz" pos="4225">
          <p15:clr>
            <a:srgbClr val="F26B43"/>
          </p15:clr>
        </p15:guide>
        <p15:guide id="15" pos="482">
          <p15:clr>
            <a:srgbClr val="F26B43"/>
          </p15:clr>
        </p15:guide>
        <p15:guide id="16" pos="642">
          <p15:clr>
            <a:srgbClr val="F26B43"/>
          </p15:clr>
        </p15:guide>
        <p15:guide id="17" orient="horz" pos="111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5.xml"/><Relationship Id="rId1" Type="http://schemas.openxmlformats.org/officeDocument/2006/relationships/tags" Target="../tags/tag4.xml"/><Relationship Id="rId5" Type="http://schemas.openxmlformats.org/officeDocument/2006/relationships/image" Target="../media/image8.png"/><Relationship Id="rId4" Type="http://schemas.openxmlformats.org/officeDocument/2006/relationships/image" Target="../media/image7.emf"/></Relationships>
</file>

<file path=ppt/slides/_rels/slide3.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9.emf"/><Relationship Id="rId18" Type="http://schemas.openxmlformats.org/officeDocument/2006/relationships/image" Target="../media/image14.png"/><Relationship Id="rId3" Type="http://schemas.openxmlformats.org/officeDocument/2006/relationships/tags" Target="../tags/tag7.xml"/><Relationship Id="rId21" Type="http://schemas.openxmlformats.org/officeDocument/2006/relationships/image" Target="../media/image17.svg"/><Relationship Id="rId7" Type="http://schemas.openxmlformats.org/officeDocument/2006/relationships/tags" Target="../tags/tag11.xml"/><Relationship Id="rId12" Type="http://schemas.openxmlformats.org/officeDocument/2006/relationships/oleObject" Target="../embeddings/oleObject4.bin"/><Relationship Id="rId17" Type="http://schemas.openxmlformats.org/officeDocument/2006/relationships/image" Target="../media/image13.svg"/><Relationship Id="rId2" Type="http://schemas.openxmlformats.org/officeDocument/2006/relationships/tags" Target="../tags/tag6.xml"/><Relationship Id="rId16" Type="http://schemas.openxmlformats.org/officeDocument/2006/relationships/image" Target="../media/image12.png"/><Relationship Id="rId20" Type="http://schemas.openxmlformats.org/officeDocument/2006/relationships/image" Target="../media/image16.png"/><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notesSlide" Target="../notesSlides/notesSlide1.xml"/><Relationship Id="rId5" Type="http://schemas.openxmlformats.org/officeDocument/2006/relationships/tags" Target="../tags/tag9.xml"/><Relationship Id="rId15" Type="http://schemas.openxmlformats.org/officeDocument/2006/relationships/image" Target="../media/image11.svg"/><Relationship Id="rId10" Type="http://schemas.openxmlformats.org/officeDocument/2006/relationships/slideLayout" Target="../slideLayouts/slideLayout17.xml"/><Relationship Id="rId19" Type="http://schemas.openxmlformats.org/officeDocument/2006/relationships/image" Target="../media/image15.svg"/><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image" Target="../media/image10.png"/></Relationships>
</file>

<file path=ppt/slides/_rels/slide4.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2.xml"/><Relationship Id="rId7" Type="http://schemas.openxmlformats.org/officeDocument/2006/relationships/diagramLayout" Target="../diagrams/layout1.xml"/><Relationship Id="rId2" Type="http://schemas.openxmlformats.org/officeDocument/2006/relationships/slideLayout" Target="../slideLayouts/slideLayout17.xml"/><Relationship Id="rId1" Type="http://schemas.openxmlformats.org/officeDocument/2006/relationships/tags" Target="../tags/tag14.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5.bin"/><Relationship Id="rId9" Type="http://schemas.openxmlformats.org/officeDocument/2006/relationships/diagramColors" Target="../diagrams/colors1.xml"/></Relationships>
</file>

<file path=ppt/slides/_rels/slide5.xml.rels><?xml version="1.0" encoding="UTF-8" standalone="yes"?>
<Relationships xmlns="http://schemas.openxmlformats.org/package/2006/relationships"><Relationship Id="rId8" Type="http://schemas.openxmlformats.org/officeDocument/2006/relationships/diagramQuickStyle" Target="../diagrams/quickStyle2.xml"/><Relationship Id="rId3" Type="http://schemas.openxmlformats.org/officeDocument/2006/relationships/notesSlide" Target="../notesSlides/notesSlide3.xml"/><Relationship Id="rId7" Type="http://schemas.openxmlformats.org/officeDocument/2006/relationships/diagramLayout" Target="../diagrams/layout2.xml"/><Relationship Id="rId2" Type="http://schemas.openxmlformats.org/officeDocument/2006/relationships/slideLayout" Target="../slideLayouts/slideLayout17.xml"/><Relationship Id="rId1" Type="http://schemas.openxmlformats.org/officeDocument/2006/relationships/tags" Target="../tags/tag15.xml"/><Relationship Id="rId6" Type="http://schemas.openxmlformats.org/officeDocument/2006/relationships/diagramData" Target="../diagrams/data2.xml"/><Relationship Id="rId5" Type="http://schemas.openxmlformats.org/officeDocument/2006/relationships/image" Target="../media/image1.emf"/><Relationship Id="rId10" Type="http://schemas.microsoft.com/office/2007/relationships/diagramDrawing" Target="../diagrams/drawing2.xml"/><Relationship Id="rId4" Type="http://schemas.openxmlformats.org/officeDocument/2006/relationships/oleObject" Target="../embeddings/oleObject6.bin"/><Relationship Id="rId9" Type="http://schemas.openxmlformats.org/officeDocument/2006/relationships/diagramColors" Target="../diagrams/colors2.xml"/></Relationships>
</file>

<file path=ppt/slides/_rels/slide6.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oleObject" Target="../embeddings/oleObject7.bin"/><Relationship Id="rId7" Type="http://schemas.openxmlformats.org/officeDocument/2006/relationships/diagramQuickStyle" Target="../diagrams/quickStyle3.xml"/><Relationship Id="rId2" Type="http://schemas.openxmlformats.org/officeDocument/2006/relationships/slideLayout" Target="../slideLayouts/slideLayout17.xml"/><Relationship Id="rId1" Type="http://schemas.openxmlformats.org/officeDocument/2006/relationships/tags" Target="../tags/tag16.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image" Target="../media/image1.emf"/><Relationship Id="rId9" Type="http://schemas.microsoft.com/office/2007/relationships/diagramDrawing" Target="../diagrams/drawing3.xml"/></Relationships>
</file>

<file path=ppt/slides/_rels/slide7.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oleObject" Target="../embeddings/oleObject8.bin"/><Relationship Id="rId7" Type="http://schemas.openxmlformats.org/officeDocument/2006/relationships/diagramQuickStyle" Target="../diagrams/quickStyle4.xml"/><Relationship Id="rId2" Type="http://schemas.openxmlformats.org/officeDocument/2006/relationships/slideLayout" Target="../slideLayouts/slideLayout17.xml"/><Relationship Id="rId1" Type="http://schemas.openxmlformats.org/officeDocument/2006/relationships/tags" Target="../tags/tag17.x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image" Target="../media/image1.emf"/><Relationship Id="rId9" Type="http://schemas.microsoft.com/office/2007/relationships/diagramDrawing" Target="../diagrams/drawing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0.xml"/><Relationship Id="rId1" Type="http://schemas.openxmlformats.org/officeDocument/2006/relationships/tags" Target="../tags/tag18.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7.xml"/><Relationship Id="rId1" Type="http://schemas.openxmlformats.org/officeDocument/2006/relationships/tags" Target="../tags/tag19.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5C313AD-AE4C-995E-5411-B8EA4EDD4108}"/>
              </a:ext>
            </a:extLst>
          </p:cNvPr>
          <p:cNvGraphicFramePr>
            <a:graphicFrameLocks noChangeAspect="1"/>
          </p:cNvGraphicFramePr>
          <p:nvPr>
            <p:custDataLst>
              <p:tags r:id="rId1"/>
            </p:custDataLst>
            <p:extLst>
              <p:ext uri="{D42A27DB-BD31-4B8C-83A1-F6EECF244321}">
                <p14:modId xmlns:p14="http://schemas.microsoft.com/office/powerpoint/2010/main" val="1126121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65C313AD-AE4C-995E-5411-B8EA4EDD4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51C7857-60A5-5921-F272-BAEB7451A02B}"/>
              </a:ext>
            </a:extLst>
          </p:cNvPr>
          <p:cNvSpPr>
            <a:spLocks noGrp="1"/>
          </p:cNvSpPr>
          <p:nvPr>
            <p:ph type="ctrTitle"/>
          </p:nvPr>
        </p:nvSpPr>
        <p:spPr>
          <a:prstGeom prst="rect">
            <a:avLst/>
          </a:prstGeom>
        </p:spPr>
        <p:txBody>
          <a:bodyPr vert="horz"/>
          <a:lstStyle/>
          <a:p>
            <a:r>
              <a:rPr lang="en-US" dirty="0"/>
              <a:t>Eliminate Demurrage from SPDC Terminals</a:t>
            </a:r>
          </a:p>
        </p:txBody>
      </p:sp>
      <p:sp>
        <p:nvSpPr>
          <p:cNvPr id="3" name="Subtitle 2">
            <a:extLst>
              <a:ext uri="{FF2B5EF4-FFF2-40B4-BE49-F238E27FC236}">
                <a16:creationId xmlns:a16="http://schemas.microsoft.com/office/drawing/2014/main" id="{54524C04-B21B-83E4-A278-7C83047E2956}"/>
              </a:ext>
            </a:extLst>
          </p:cNvPr>
          <p:cNvSpPr>
            <a:spLocks noGrp="1"/>
          </p:cNvSpPr>
          <p:nvPr>
            <p:ph type="subTitle" idx="1"/>
          </p:nvPr>
        </p:nvSpPr>
        <p:spPr>
          <a:prstGeom prst="rect">
            <a:avLst/>
          </a:prstGeom>
        </p:spPr>
        <p:txBody>
          <a:bodyPr/>
          <a:lstStyle/>
          <a:p>
            <a:r>
              <a:rPr lang="en-US" dirty="0"/>
              <a:t>Sponsors briefing – Sprint Week 03</a:t>
            </a:r>
          </a:p>
        </p:txBody>
      </p:sp>
      <p:sp>
        <p:nvSpPr>
          <p:cNvPr id="5" name="Text Placeholder 4">
            <a:extLst>
              <a:ext uri="{FF2B5EF4-FFF2-40B4-BE49-F238E27FC236}">
                <a16:creationId xmlns:a16="http://schemas.microsoft.com/office/drawing/2014/main" id="{4A2CEA74-1EFD-EB30-D680-7D285A1CD42D}"/>
              </a:ext>
            </a:extLst>
          </p:cNvPr>
          <p:cNvSpPr>
            <a:spLocks noGrp="1"/>
          </p:cNvSpPr>
          <p:nvPr>
            <p:ph type="body" sz="quarter" idx="10"/>
          </p:nvPr>
        </p:nvSpPr>
        <p:spPr/>
        <p:txBody>
          <a:bodyPr/>
          <a:lstStyle/>
          <a:p>
            <a:endParaRPr lang="en-US"/>
          </a:p>
        </p:txBody>
      </p:sp>
      <p:sp>
        <p:nvSpPr>
          <p:cNvPr id="6" name="Text Placeholder 5">
            <a:extLst>
              <a:ext uri="{FF2B5EF4-FFF2-40B4-BE49-F238E27FC236}">
                <a16:creationId xmlns:a16="http://schemas.microsoft.com/office/drawing/2014/main" id="{836FECBD-BD73-5100-522E-F8B12D0E7874}"/>
              </a:ext>
            </a:extLst>
          </p:cNvPr>
          <p:cNvSpPr>
            <a:spLocks noGrp="1"/>
          </p:cNvSpPr>
          <p:nvPr>
            <p:ph type="body" sz="quarter" idx="11"/>
          </p:nvPr>
        </p:nvSpPr>
        <p:spPr/>
        <p:txBody>
          <a:bodyPr/>
          <a:lstStyle/>
          <a:p>
            <a:endParaRPr lang="en-US"/>
          </a:p>
        </p:txBody>
      </p:sp>
      <p:sp>
        <p:nvSpPr>
          <p:cNvPr id="7" name="Slide Number Placeholder 6">
            <a:extLst>
              <a:ext uri="{FF2B5EF4-FFF2-40B4-BE49-F238E27FC236}">
                <a16:creationId xmlns:a16="http://schemas.microsoft.com/office/drawing/2014/main" id="{D92B6F0B-0E0E-D950-DFFB-31726951BEAD}"/>
              </a:ext>
            </a:extLst>
          </p:cNvPr>
          <p:cNvSpPr>
            <a:spLocks noGrp="1"/>
          </p:cNvSpPr>
          <p:nvPr>
            <p:ph type="sldNum" sz="quarter" idx="4"/>
          </p:nvPr>
        </p:nvSpPr>
        <p:spPr/>
        <p:txBody>
          <a:bodyPr/>
          <a:lstStyle/>
          <a:p>
            <a:fld id="{D32BAE6A-B452-4007-8177-56DD051636F9}" type="slidenum">
              <a:rPr lang="en-GB" noProof="1" smtClean="0"/>
              <a:pPr/>
              <a:t>1</a:t>
            </a:fld>
            <a:endParaRPr lang="en-GB" noProof="1"/>
          </a:p>
        </p:txBody>
      </p:sp>
      <p:sp>
        <p:nvSpPr>
          <p:cNvPr id="9" name="Date Placeholder 8">
            <a:extLst>
              <a:ext uri="{FF2B5EF4-FFF2-40B4-BE49-F238E27FC236}">
                <a16:creationId xmlns:a16="http://schemas.microsoft.com/office/drawing/2014/main" id="{2DCF0CB5-0571-162B-A433-D2F7ABA9A709}"/>
              </a:ext>
            </a:extLst>
          </p:cNvPr>
          <p:cNvSpPr>
            <a:spLocks noGrp="1"/>
          </p:cNvSpPr>
          <p:nvPr>
            <p:ph type="dt" sz="half" idx="2"/>
          </p:nvPr>
        </p:nvSpPr>
        <p:spPr/>
        <p:txBody>
          <a:bodyPr/>
          <a:lstStyle/>
          <a:p>
            <a:pPr>
              <a:defRPr/>
            </a:pPr>
            <a:r>
              <a:rPr lang="en-GB" noProof="1"/>
              <a:t>Feb 2024</a:t>
            </a:r>
          </a:p>
        </p:txBody>
      </p:sp>
    </p:spTree>
    <p:extLst>
      <p:ext uri="{BB962C8B-B14F-4D97-AF65-F5344CB8AC3E}">
        <p14:creationId xmlns:p14="http://schemas.microsoft.com/office/powerpoint/2010/main" val="1236932695"/>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EDE8D515-0E92-820E-1A89-ECD5B12C00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5" name="Object 24" hidden="1">
                        <a:extLst>
                          <a:ext uri="{FF2B5EF4-FFF2-40B4-BE49-F238E27FC236}">
                            <a16:creationId xmlns:a16="http://schemas.microsoft.com/office/drawing/2014/main" id="{EDE8D515-0E92-820E-1A89-ECD5B12C00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F54CDC7A-E668-8E9E-88AB-5DA81BF3E5A3}"/>
              </a:ext>
            </a:extLst>
          </p:cNvPr>
          <p:cNvSpPr/>
          <p:nvPr/>
        </p:nvSpPr>
        <p:spPr>
          <a:xfrm>
            <a:off x="209763" y="1117646"/>
            <a:ext cx="3295438" cy="2311354"/>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Futura Medium"/>
              <a:ea typeface="+mn-ea"/>
              <a:cs typeface="+mn-cs"/>
            </a:endParaRPr>
          </a:p>
        </p:txBody>
      </p:sp>
      <p:graphicFrame>
        <p:nvGraphicFramePr>
          <p:cNvPr id="8" name="Group 111">
            <a:extLst>
              <a:ext uri="{FF2B5EF4-FFF2-40B4-BE49-F238E27FC236}">
                <a16:creationId xmlns:a16="http://schemas.microsoft.com/office/drawing/2014/main" id="{B22D0410-8B28-79FC-AAC4-FA6F058E117C}"/>
              </a:ext>
            </a:extLst>
          </p:cNvPr>
          <p:cNvGraphicFramePr>
            <a:graphicFrameLocks noGrp="1"/>
          </p:cNvGraphicFramePr>
          <p:nvPr/>
        </p:nvGraphicFramePr>
        <p:xfrm>
          <a:off x="7185145" y="1961221"/>
          <a:ext cx="2068922" cy="4270396"/>
        </p:xfrm>
        <a:graphic>
          <a:graphicData uri="http://schemas.openxmlformats.org/drawingml/2006/table">
            <a:tbl>
              <a:tblPr>
                <a:effectLst>
                  <a:outerShdw blurRad="63500" sx="101000" sy="101000" algn="ctr" rotWithShape="0">
                    <a:prstClr val="black">
                      <a:alpha val="40000"/>
                    </a:prstClr>
                  </a:outerShdw>
                </a:effectLst>
              </a:tblPr>
              <a:tblGrid>
                <a:gridCol w="2068922">
                  <a:extLst>
                    <a:ext uri="{9D8B030D-6E8A-4147-A177-3AD203B41FA5}">
                      <a16:colId xmlns:a16="http://schemas.microsoft.com/office/drawing/2014/main" val="20001"/>
                    </a:ext>
                  </a:extLst>
                </a:gridCol>
              </a:tblGrid>
              <a:tr h="4270396">
                <a:tc>
                  <a:txBody>
                    <a:bodyPr/>
                    <a:lstStyle/>
                    <a:p>
                      <a:pPr marL="171450" marR="0" lvl="0" indent="-171450" algn="l" defTabSz="914400" rtl="0" eaLnBrk="1" fontAlgn="auto" latinLnBrk="0" hangingPunct="1">
                        <a:lnSpc>
                          <a:spcPct val="114000"/>
                        </a:lnSpc>
                        <a:spcBef>
                          <a:spcPts val="0"/>
                        </a:spcBef>
                        <a:spcAft>
                          <a:spcPts val="0"/>
                        </a:spcAft>
                        <a:buClr>
                          <a:srgbClr val="C00000"/>
                        </a:buClr>
                        <a:buSzTx/>
                        <a:buFont typeface="Wingdings" panose="05000000000000000000" pitchFamily="2" charset="2"/>
                        <a:buChar char="§"/>
                        <a:tabLst/>
                        <a:defRPr/>
                      </a:pPr>
                      <a:r>
                        <a:rPr lang="en-US" sz="1100" kern="1200" dirty="0">
                          <a:solidFill>
                            <a:srgbClr val="292929"/>
                          </a:solidFill>
                          <a:effectLst/>
                          <a:latin typeface="ShellLight" panose="00000400000000000000" pitchFamily="50" charset="0"/>
                          <a:ea typeface="+mn-ea"/>
                          <a:cs typeface="Times New Roman" panose="02020603050405020304" pitchFamily="18" charset="0"/>
                        </a:rPr>
                        <a:t>Understand what it takes to deliver a ‘perfect’ offtake</a:t>
                      </a:r>
                    </a:p>
                    <a:p>
                      <a:pPr marL="171450" marR="0" lvl="0" indent="-171450" algn="l" defTabSz="914400" rtl="0" eaLnBrk="1" fontAlgn="auto" latinLnBrk="0" hangingPunct="1">
                        <a:lnSpc>
                          <a:spcPct val="114000"/>
                        </a:lnSpc>
                        <a:spcBef>
                          <a:spcPts val="0"/>
                        </a:spcBef>
                        <a:spcAft>
                          <a:spcPts val="0"/>
                        </a:spcAft>
                        <a:buClr>
                          <a:srgbClr val="C00000"/>
                        </a:buClr>
                        <a:buSzTx/>
                        <a:buFont typeface="Wingdings" panose="05000000000000000000" pitchFamily="2" charset="2"/>
                        <a:buChar char="§"/>
                        <a:tabLst/>
                        <a:defRPr/>
                      </a:pPr>
                      <a:r>
                        <a:rPr lang="en-US" sz="1100" kern="1200" dirty="0">
                          <a:solidFill>
                            <a:srgbClr val="292929"/>
                          </a:solidFill>
                          <a:effectLst/>
                          <a:latin typeface="ShellLight" panose="00000400000000000000" pitchFamily="50" charset="0"/>
                          <a:ea typeface="+mn-ea"/>
                          <a:cs typeface="Times New Roman" panose="02020603050405020304" pitchFamily="18" charset="0"/>
                        </a:rPr>
                        <a:t>Close identified gaps/root causes that contribute to demurrage cost</a:t>
                      </a:r>
                      <a:endParaRPr lang="en-GB" sz="1100" kern="1200" dirty="0">
                        <a:solidFill>
                          <a:srgbClr val="292929"/>
                        </a:solidFill>
                        <a:effectLst/>
                        <a:latin typeface="ShellLight" panose="00000400000000000000" pitchFamily="50" charset="0"/>
                        <a:ea typeface="+mn-ea"/>
                        <a:cs typeface="Times New Roman" panose="02020603050405020304" pitchFamily="18" charset="0"/>
                      </a:endParaRPr>
                    </a:p>
                    <a:p>
                      <a:pPr marL="171450" marR="0" lvl="0" indent="-171450" algn="l" defTabSz="914400" rtl="0" eaLnBrk="1" fontAlgn="auto" latinLnBrk="0" hangingPunct="1">
                        <a:lnSpc>
                          <a:spcPct val="114000"/>
                        </a:lnSpc>
                        <a:spcBef>
                          <a:spcPts val="0"/>
                        </a:spcBef>
                        <a:spcAft>
                          <a:spcPts val="0"/>
                        </a:spcAft>
                        <a:buClr>
                          <a:srgbClr val="C00000"/>
                        </a:buClr>
                        <a:buSzTx/>
                        <a:buFont typeface="Wingdings" panose="05000000000000000000" pitchFamily="2" charset="2"/>
                        <a:buChar char="§"/>
                        <a:tabLst/>
                        <a:defRPr/>
                      </a:pPr>
                      <a:r>
                        <a:rPr lang="en-GB" sz="1100" kern="1200" dirty="0">
                          <a:solidFill>
                            <a:srgbClr val="292929"/>
                          </a:solidFill>
                          <a:effectLst/>
                          <a:latin typeface="ShellLight" panose="00000400000000000000" pitchFamily="50" charset="0"/>
                          <a:ea typeface="+mn-ea"/>
                          <a:cs typeface="Times New Roman" panose="02020603050405020304" pitchFamily="18" charset="0"/>
                        </a:rPr>
                        <a:t>Implement a performance measurement and monitoring system to sustain improvement</a:t>
                      </a:r>
                    </a:p>
                    <a:p>
                      <a:pPr marL="171450" marR="0" lvl="0" indent="-171450" algn="l" defTabSz="914400" rtl="0" eaLnBrk="1" fontAlgn="auto" latinLnBrk="0" hangingPunct="1">
                        <a:lnSpc>
                          <a:spcPct val="112000"/>
                        </a:lnSpc>
                        <a:spcBef>
                          <a:spcPts val="0"/>
                        </a:spcBef>
                        <a:spcAft>
                          <a:spcPts val="0"/>
                        </a:spcAft>
                        <a:buClr>
                          <a:srgbClr val="C00000"/>
                        </a:buClr>
                        <a:buSzTx/>
                        <a:buFont typeface="Wingdings" panose="05000000000000000000" pitchFamily="2" charset="2"/>
                        <a:buChar char="§"/>
                        <a:tabLst/>
                        <a:defRPr/>
                      </a:pPr>
                      <a:endParaRPr lang="en-GB" sz="1100" kern="1200" dirty="0">
                        <a:solidFill>
                          <a:srgbClr val="292929"/>
                        </a:solidFill>
                        <a:effectLst/>
                        <a:latin typeface="ShellLight" panose="00000400000000000000" pitchFamily="50" charset="0"/>
                        <a:ea typeface="+mn-ea"/>
                        <a:cs typeface="Times New Roman" panose="02020603050405020304" pitchFamily="18" charset="0"/>
                      </a:endParaRPr>
                    </a:p>
                  </a:txBody>
                  <a:tcPr horzOverflow="overflow">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bl>
          </a:graphicData>
        </a:graphic>
      </p:graphicFrame>
      <p:sp>
        <p:nvSpPr>
          <p:cNvPr id="4" name="TextBox 3">
            <a:extLst>
              <a:ext uri="{FF2B5EF4-FFF2-40B4-BE49-F238E27FC236}">
                <a16:creationId xmlns:a16="http://schemas.microsoft.com/office/drawing/2014/main" id="{418110B4-5567-DEA2-5C88-D9257B885623}"/>
              </a:ext>
            </a:extLst>
          </p:cNvPr>
          <p:cNvSpPr txBox="1"/>
          <p:nvPr/>
        </p:nvSpPr>
        <p:spPr bwMode="auto">
          <a:xfrm>
            <a:off x="209763" y="3476946"/>
            <a:ext cx="3101928" cy="174791"/>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marL="201613" marR="0" lvl="0" indent="-201613" algn="l" defTabSz="357708" rtl="0" eaLnBrk="1" fontAlgn="auto" latinLnBrk="0" hangingPunct="1">
              <a:lnSpc>
                <a:spcPct val="140000"/>
              </a:lnSpc>
              <a:spcBef>
                <a:spcPts val="0"/>
              </a:spcBef>
              <a:spcAft>
                <a:spcPts val="0"/>
              </a:spcAft>
              <a:buClr>
                <a:srgbClr val="DD1D21"/>
              </a:buClr>
              <a:buSzPct val="85000"/>
              <a:buFont typeface="Wingdings" panose="05000000000000000000" pitchFamily="2" charset="2"/>
              <a:buChar char=""/>
              <a:tabLst/>
              <a:defRPr/>
            </a:pPr>
            <a:r>
              <a:rPr kumimoji="0" lang="en-US" sz="900" b="0" i="1" u="none" strike="noStrike" kern="1200" cap="none" spc="0" normalizeH="0" baseline="0" noProof="0" dirty="0">
                <a:ln>
                  <a:noFill/>
                </a:ln>
                <a:solidFill>
                  <a:srgbClr val="000000"/>
                </a:solidFill>
                <a:effectLst/>
                <a:uLnTx/>
                <a:uFillTx/>
                <a:latin typeface="Futura Medium"/>
                <a:ea typeface="+mn-ea"/>
                <a:cs typeface="+mn-cs"/>
              </a:rPr>
              <a:t>Fig: </a:t>
            </a:r>
            <a:r>
              <a:rPr lang="en-US" sz="900" i="1" dirty="0">
                <a:solidFill>
                  <a:srgbClr val="000000"/>
                </a:solidFill>
                <a:latin typeface="Futura Medium"/>
              </a:rPr>
              <a:t>Demurrage</a:t>
            </a:r>
            <a:r>
              <a:rPr kumimoji="0" lang="en-US" sz="900" b="0" i="1" u="none" strike="noStrike" kern="1200" cap="none" spc="0" normalizeH="0" baseline="0" noProof="0" dirty="0">
                <a:ln>
                  <a:noFill/>
                </a:ln>
                <a:solidFill>
                  <a:srgbClr val="000000"/>
                </a:solidFill>
                <a:effectLst/>
                <a:uLnTx/>
                <a:uFillTx/>
                <a:latin typeface="Futura Medium"/>
                <a:ea typeface="+mn-ea"/>
                <a:cs typeface="+mn-cs"/>
              </a:rPr>
              <a:t> Reduction Staircase</a:t>
            </a:r>
          </a:p>
        </p:txBody>
      </p:sp>
      <p:graphicFrame>
        <p:nvGraphicFramePr>
          <p:cNvPr id="2" name="Table 7">
            <a:extLst>
              <a:ext uri="{FF2B5EF4-FFF2-40B4-BE49-F238E27FC236}">
                <a16:creationId xmlns:a16="http://schemas.microsoft.com/office/drawing/2014/main" id="{F7D5C95D-A8F8-2585-22B7-DF446277203A}"/>
              </a:ext>
            </a:extLst>
          </p:cNvPr>
          <p:cNvGraphicFramePr>
            <a:graphicFrameLocks noGrp="1"/>
          </p:cNvGraphicFramePr>
          <p:nvPr/>
        </p:nvGraphicFramePr>
        <p:xfrm>
          <a:off x="310102" y="1352908"/>
          <a:ext cx="3079547" cy="1748896"/>
        </p:xfrm>
        <a:graphic>
          <a:graphicData uri="http://schemas.openxmlformats.org/drawingml/2006/table">
            <a:tbl>
              <a:tblPr firstRow="1" bandRow="1">
                <a:tableStyleId>{5C22544A-7EE6-4342-B048-85BDC9FD1C3A}</a:tableStyleId>
              </a:tblPr>
              <a:tblGrid>
                <a:gridCol w="718651">
                  <a:extLst>
                    <a:ext uri="{9D8B030D-6E8A-4147-A177-3AD203B41FA5}">
                      <a16:colId xmlns:a16="http://schemas.microsoft.com/office/drawing/2014/main" val="1930571361"/>
                    </a:ext>
                  </a:extLst>
                </a:gridCol>
                <a:gridCol w="341325">
                  <a:extLst>
                    <a:ext uri="{9D8B030D-6E8A-4147-A177-3AD203B41FA5}">
                      <a16:colId xmlns:a16="http://schemas.microsoft.com/office/drawing/2014/main" val="3448836863"/>
                    </a:ext>
                  </a:extLst>
                </a:gridCol>
                <a:gridCol w="446312">
                  <a:extLst>
                    <a:ext uri="{9D8B030D-6E8A-4147-A177-3AD203B41FA5}">
                      <a16:colId xmlns:a16="http://schemas.microsoft.com/office/drawing/2014/main" val="2734523406"/>
                    </a:ext>
                  </a:extLst>
                </a:gridCol>
                <a:gridCol w="1573259">
                  <a:extLst>
                    <a:ext uri="{9D8B030D-6E8A-4147-A177-3AD203B41FA5}">
                      <a16:colId xmlns:a16="http://schemas.microsoft.com/office/drawing/2014/main" val="3935177054"/>
                    </a:ext>
                  </a:extLst>
                </a:gridCol>
              </a:tblGrid>
              <a:tr h="437224">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800" b="1" kern="1200">
                          <a:solidFill>
                            <a:schemeClr val="bg1"/>
                          </a:solidFill>
                          <a:latin typeface="+mn-lt"/>
                          <a:ea typeface="+mn-ea"/>
                          <a:cs typeface="+mn-cs"/>
                        </a:rPr>
                        <a:t>Targe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5">
                        <a:lumMod val="50000"/>
                      </a:schemeClr>
                    </a:solidFill>
                  </a:tcPr>
                </a:tc>
                <a:tc gridSpan="3">
                  <a:txBody>
                    <a:bodyPr/>
                    <a:lstStyle/>
                    <a:p>
                      <a:pPr algn="r"/>
                      <a:r>
                        <a:rPr lang="en-US" sz="800" b="0" kern="1200" dirty="0">
                          <a:solidFill>
                            <a:srgbClr val="000000"/>
                          </a:solidFill>
                          <a:latin typeface="+mn-lt"/>
                          <a:ea typeface="+mn-ea"/>
                          <a:cs typeface="+mn-cs"/>
                        </a:rPr>
                        <a:t>Zero demurrage cost incurred</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9D9D9"/>
                    </a:solidFill>
                  </a:tcPr>
                </a:tc>
                <a:tc hMerge="1">
                  <a:txBody>
                    <a:bodyPr/>
                    <a:lstStyle/>
                    <a:p>
                      <a:pPr algn="ctr"/>
                      <a:endParaRPr lang="en-US" sz="100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hMerge="1">
                  <a:txBody>
                    <a:bodyPr/>
                    <a:lstStyle/>
                    <a:p>
                      <a:pPr algn="ctr"/>
                      <a:endParaRPr lang="en-US"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969618657"/>
                  </a:ext>
                </a:extLst>
              </a:tr>
              <a:tr h="437224">
                <a:tc>
                  <a:txBody>
                    <a:bodyPr/>
                    <a:lstStyle/>
                    <a:p>
                      <a:pPr algn="ctr"/>
                      <a:endParaRPr lang="en-US"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algn="ctr"/>
                      <a:endParaRPr lang="en-US"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algn="ctr"/>
                      <a:endParaRPr lang="en-US"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algn="r"/>
                      <a:r>
                        <a:rPr lang="en-US" sz="800" dirty="0">
                          <a:solidFill>
                            <a:srgbClr val="000000"/>
                          </a:solidFill>
                        </a:rPr>
                        <a:t>Production forecast stability</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9D9D9"/>
                    </a:solidFill>
                  </a:tcPr>
                </a:tc>
                <a:extLst>
                  <a:ext uri="{0D108BD9-81ED-4DB2-BD59-A6C34878D82A}">
                    <a16:rowId xmlns:a16="http://schemas.microsoft.com/office/drawing/2014/main" val="1362416874"/>
                  </a:ext>
                </a:extLst>
              </a:tr>
              <a:tr h="437224">
                <a:tc>
                  <a:txBody>
                    <a:bodyPr/>
                    <a:lstStyle/>
                    <a:p>
                      <a:pPr algn="ctr"/>
                      <a:endParaRPr lang="en-US" sz="100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algn="ctr"/>
                      <a:endParaRPr lang="en-US"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gridSpan="2">
                  <a:txBody>
                    <a:bodyPr/>
                    <a:lstStyle/>
                    <a:p>
                      <a:pPr algn="r"/>
                      <a:r>
                        <a:rPr lang="en-US" sz="800" dirty="0">
                          <a:solidFill>
                            <a:schemeClr val="bg1"/>
                          </a:solidFill>
                        </a:rPr>
                        <a:t>Enhanced tanker turnaround tim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7F7F7F"/>
                    </a:solidFill>
                  </a:tcPr>
                </a:tc>
                <a:tc hMerge="1">
                  <a:txBody>
                    <a:bodyPr/>
                    <a:lstStyle/>
                    <a:p>
                      <a:pPr algn="ctr"/>
                      <a:endParaRPr lang="en-US" sz="100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FCC00"/>
                    </a:solidFill>
                  </a:tcPr>
                </a:tc>
                <a:extLst>
                  <a:ext uri="{0D108BD9-81ED-4DB2-BD59-A6C34878D82A}">
                    <a16:rowId xmlns:a16="http://schemas.microsoft.com/office/drawing/2014/main" val="3478736752"/>
                  </a:ext>
                </a:extLst>
              </a:tr>
              <a:tr h="437224">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800" b="1" dirty="0">
                          <a:solidFill>
                            <a:srgbClr val="000000"/>
                          </a:solidFill>
                        </a:rPr>
                        <a:t>Current State</a:t>
                      </a:r>
                      <a:endParaRPr lang="en-US" sz="800" dirty="0">
                        <a:solidFill>
                          <a:srgbClr val="000000"/>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BCE07"/>
                    </a:solidFill>
                  </a:tcPr>
                </a:tc>
                <a:tc gridSpan="3">
                  <a:txBody>
                    <a:bodyPr/>
                    <a:lstStyle/>
                    <a:p>
                      <a:pPr algn="r"/>
                      <a:r>
                        <a:rPr lang="en-US" sz="800" dirty="0">
                          <a:solidFill>
                            <a:srgbClr val="000000"/>
                          </a:solidFill>
                        </a:rPr>
                        <a:t>Baseline Performanc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a:endParaRPr lang="en-US" sz="100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FCC00"/>
                    </a:solidFill>
                  </a:tcPr>
                </a:tc>
                <a:tc hMerge="1">
                  <a:txBody>
                    <a:bodyPr/>
                    <a:lstStyle/>
                    <a:p>
                      <a:pPr algn="ctr"/>
                      <a:endParaRPr lang="en-US" sz="100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FCC00"/>
                    </a:solidFill>
                  </a:tcPr>
                </a:tc>
                <a:extLst>
                  <a:ext uri="{0D108BD9-81ED-4DB2-BD59-A6C34878D82A}">
                    <a16:rowId xmlns:a16="http://schemas.microsoft.com/office/drawing/2014/main" val="1910027042"/>
                  </a:ext>
                </a:extLst>
              </a:tr>
            </a:tbl>
          </a:graphicData>
        </a:graphic>
      </p:graphicFrame>
      <p:graphicFrame>
        <p:nvGraphicFramePr>
          <p:cNvPr id="10" name="Group 111">
            <a:extLst>
              <a:ext uri="{FF2B5EF4-FFF2-40B4-BE49-F238E27FC236}">
                <a16:creationId xmlns:a16="http://schemas.microsoft.com/office/drawing/2014/main" id="{1E831E56-D80E-E3FB-0ED8-3EAF48F45515}"/>
              </a:ext>
            </a:extLst>
          </p:cNvPr>
          <p:cNvGraphicFramePr>
            <a:graphicFrameLocks noGrp="1"/>
          </p:cNvGraphicFramePr>
          <p:nvPr/>
        </p:nvGraphicFramePr>
        <p:xfrm>
          <a:off x="3621094" y="1961221"/>
          <a:ext cx="3383280" cy="4270396"/>
        </p:xfrm>
        <a:graphic>
          <a:graphicData uri="http://schemas.openxmlformats.org/drawingml/2006/table">
            <a:tbl>
              <a:tblPr>
                <a:effectLst>
                  <a:outerShdw blurRad="63500" sx="101000" sy="101000" algn="ctr" rotWithShape="0">
                    <a:prstClr val="black">
                      <a:alpha val="40000"/>
                    </a:prstClr>
                  </a:outerShdw>
                </a:effectLst>
              </a:tblPr>
              <a:tblGrid>
                <a:gridCol w="3383280">
                  <a:extLst>
                    <a:ext uri="{9D8B030D-6E8A-4147-A177-3AD203B41FA5}">
                      <a16:colId xmlns:a16="http://schemas.microsoft.com/office/drawing/2014/main" val="20000"/>
                    </a:ext>
                  </a:extLst>
                </a:gridCol>
              </a:tblGrid>
              <a:tr h="4270396">
                <a:tc>
                  <a:txBody>
                    <a:bodyPr/>
                    <a:lstStyle/>
                    <a:p>
                      <a:pPr marL="171450" marR="0" lvl="0" indent="-171450" algn="l" defTabSz="914400" rtl="0" eaLnBrk="1" fontAlgn="auto" latinLnBrk="0" hangingPunct="1">
                        <a:lnSpc>
                          <a:spcPct val="114000"/>
                        </a:lnSpc>
                        <a:spcBef>
                          <a:spcPts val="0"/>
                        </a:spcBef>
                        <a:spcAft>
                          <a:spcPts val="0"/>
                        </a:spcAft>
                        <a:buClr>
                          <a:srgbClr val="C00000"/>
                        </a:buClr>
                        <a:buSzTx/>
                        <a:buFont typeface="Wingdings" panose="05000000000000000000" pitchFamily="2" charset="2"/>
                        <a:buChar char="§"/>
                        <a:tabLst/>
                        <a:defRPr/>
                      </a:pPr>
                      <a:r>
                        <a:rPr lang="en-US" sz="1100" kern="1200" dirty="0">
                          <a:solidFill>
                            <a:srgbClr val="292929"/>
                          </a:solidFill>
                          <a:effectLst/>
                          <a:latin typeface="ShellLight" panose="00000400000000000000" pitchFamily="50" charset="0"/>
                          <a:ea typeface="+mn-ea"/>
                          <a:cs typeface="Times New Roman" panose="02020603050405020304" pitchFamily="18" charset="0"/>
                        </a:rPr>
                        <a:t>SPDC experienced increased value erosion from demurrage claims in the past four years. Total claims rose from ~$6.4m in 2020 to ~$23m in 2023 largely due to slower loading at Forcados Terminal caused by SPM integrity issues/outage and awaiting cargo in Bonny Terminal due to lower receipts from TNP.</a:t>
                      </a:r>
                    </a:p>
                    <a:p>
                      <a:pPr marL="171450" marR="0" lvl="0" indent="-171450" algn="l" defTabSz="914400" rtl="0" eaLnBrk="1" fontAlgn="auto" latinLnBrk="0" hangingPunct="1">
                        <a:lnSpc>
                          <a:spcPct val="114000"/>
                        </a:lnSpc>
                        <a:spcBef>
                          <a:spcPts val="0"/>
                        </a:spcBef>
                        <a:spcAft>
                          <a:spcPts val="0"/>
                        </a:spcAft>
                        <a:buClr>
                          <a:srgbClr val="C00000"/>
                        </a:buClr>
                        <a:buSzTx/>
                        <a:buFont typeface="Wingdings" panose="05000000000000000000" pitchFamily="2" charset="2"/>
                        <a:buChar char="§"/>
                        <a:tabLst/>
                        <a:defRPr/>
                      </a:pPr>
                      <a:r>
                        <a:rPr lang="en-US" sz="1100" kern="1200" dirty="0">
                          <a:solidFill>
                            <a:srgbClr val="292929"/>
                          </a:solidFill>
                          <a:effectLst/>
                          <a:latin typeface="ShellLight" panose="00000400000000000000" pitchFamily="50" charset="0"/>
                          <a:ea typeface="+mn-ea"/>
                          <a:cs typeface="Times New Roman" panose="02020603050405020304" pitchFamily="18" charset="0"/>
                        </a:rPr>
                        <a:t>In line with the drive to improve cost competitiveness, an ambitious 2024 business plan was endorsed with a  provision for demurrage capped at $7.2m</a:t>
                      </a:r>
                    </a:p>
                    <a:p>
                      <a:pPr marL="171450" marR="0" lvl="0" indent="-171450" algn="l" defTabSz="914400" rtl="0" eaLnBrk="1" fontAlgn="auto" latinLnBrk="0" hangingPunct="1">
                        <a:lnSpc>
                          <a:spcPct val="114000"/>
                        </a:lnSpc>
                        <a:spcBef>
                          <a:spcPts val="0"/>
                        </a:spcBef>
                        <a:spcAft>
                          <a:spcPts val="0"/>
                        </a:spcAft>
                        <a:buClr>
                          <a:srgbClr val="C00000"/>
                        </a:buClr>
                        <a:buSzTx/>
                        <a:buFont typeface="Wingdings" panose="05000000000000000000" pitchFamily="2" charset="2"/>
                        <a:buChar char="§"/>
                        <a:tabLst/>
                        <a:defRPr/>
                      </a:pPr>
                      <a:r>
                        <a:rPr lang="en-US" sz="1100" kern="1200" dirty="0">
                          <a:solidFill>
                            <a:srgbClr val="292929"/>
                          </a:solidFill>
                          <a:effectLst/>
                          <a:latin typeface="ShellLight" panose="00000400000000000000" pitchFamily="50" charset="0"/>
                          <a:ea typeface="+mn-ea"/>
                          <a:cs typeface="Times New Roman" panose="02020603050405020304" pitchFamily="18" charset="0"/>
                        </a:rPr>
                        <a:t>With the restoration of FSPM1 and proven functionality of the Tri Catenary Mooring system, more focus and cross-functional integration is required to achieve and sustain “offtake ready everyday” across SPDC Terminals.</a:t>
                      </a:r>
                    </a:p>
                    <a:p>
                      <a:pPr marL="171450" marR="0" lvl="0" indent="-171450" algn="l" defTabSz="914400" rtl="0" eaLnBrk="1" fontAlgn="auto" latinLnBrk="0" hangingPunct="1">
                        <a:lnSpc>
                          <a:spcPct val="114000"/>
                        </a:lnSpc>
                        <a:spcBef>
                          <a:spcPts val="0"/>
                        </a:spcBef>
                        <a:spcAft>
                          <a:spcPts val="0"/>
                        </a:spcAft>
                        <a:buClr>
                          <a:srgbClr val="C00000"/>
                        </a:buClr>
                        <a:buSzTx/>
                        <a:buFont typeface="Wingdings" panose="05000000000000000000" pitchFamily="2" charset="2"/>
                        <a:buChar char="§"/>
                        <a:tabLst/>
                        <a:defRPr/>
                      </a:pPr>
                      <a:r>
                        <a:rPr lang="en-US" sz="1100" kern="1200" dirty="0">
                          <a:solidFill>
                            <a:srgbClr val="292929"/>
                          </a:solidFill>
                          <a:effectLst/>
                          <a:latin typeface="ShellLight" panose="00000400000000000000" pitchFamily="50" charset="0"/>
                          <a:ea typeface="+mn-ea"/>
                          <a:cs typeface="Times New Roman" panose="02020603050405020304" pitchFamily="18" charset="0"/>
                        </a:rPr>
                        <a:t>Ambition is to incur ZERO demurrage claims charge in 2024.</a:t>
                      </a:r>
                    </a:p>
                  </a:txBody>
                  <a:tcPr horzOverflow="overflow">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bl>
          </a:graphicData>
        </a:graphic>
      </p:graphicFrame>
      <p:graphicFrame>
        <p:nvGraphicFramePr>
          <p:cNvPr id="15" name="Group 111">
            <a:extLst>
              <a:ext uri="{FF2B5EF4-FFF2-40B4-BE49-F238E27FC236}">
                <a16:creationId xmlns:a16="http://schemas.microsoft.com/office/drawing/2014/main" id="{3B64B6EB-2A81-A51C-6754-9066D5DC93EB}"/>
              </a:ext>
            </a:extLst>
          </p:cNvPr>
          <p:cNvGraphicFramePr>
            <a:graphicFrameLocks noGrp="1"/>
          </p:cNvGraphicFramePr>
          <p:nvPr/>
        </p:nvGraphicFramePr>
        <p:xfrm>
          <a:off x="9434838" y="1961221"/>
          <a:ext cx="2503078" cy="4270396"/>
        </p:xfrm>
        <a:graphic>
          <a:graphicData uri="http://schemas.openxmlformats.org/drawingml/2006/table">
            <a:tbl>
              <a:tblPr>
                <a:effectLst>
                  <a:outerShdw blurRad="63500" sx="101000" sy="101000" algn="ctr" rotWithShape="0">
                    <a:prstClr val="black">
                      <a:alpha val="40000"/>
                    </a:prstClr>
                  </a:outerShdw>
                </a:effectLst>
              </a:tblPr>
              <a:tblGrid>
                <a:gridCol w="2503078">
                  <a:extLst>
                    <a:ext uri="{9D8B030D-6E8A-4147-A177-3AD203B41FA5}">
                      <a16:colId xmlns:a16="http://schemas.microsoft.com/office/drawing/2014/main" val="20002"/>
                    </a:ext>
                  </a:extLst>
                </a:gridCol>
              </a:tblGrid>
              <a:tr h="4270396">
                <a:tc>
                  <a:txBody>
                    <a:bodyPr/>
                    <a:lstStyle/>
                    <a:p>
                      <a:pPr marL="171450" marR="0" lvl="0" indent="-171450" algn="l" defTabSz="914400" rtl="0" eaLnBrk="1" fontAlgn="auto" latinLnBrk="0" hangingPunct="1">
                        <a:lnSpc>
                          <a:spcPct val="114000"/>
                        </a:lnSpc>
                        <a:spcBef>
                          <a:spcPts val="0"/>
                        </a:spcBef>
                        <a:spcAft>
                          <a:spcPts val="0"/>
                        </a:spcAft>
                        <a:buClr>
                          <a:srgbClr val="C00000"/>
                        </a:buClr>
                        <a:buSzTx/>
                        <a:buFont typeface="Wingdings" panose="05000000000000000000" pitchFamily="2" charset="2"/>
                        <a:buChar char="§"/>
                        <a:tabLst/>
                        <a:defRPr/>
                      </a:pPr>
                      <a:r>
                        <a:rPr lang="en-US" sz="1100" dirty="0">
                          <a:solidFill>
                            <a:srgbClr val="292929"/>
                          </a:solidFill>
                          <a:effectLst/>
                          <a:latin typeface="ShellLight" panose="00000400000000000000" pitchFamily="50" charset="0"/>
                          <a:ea typeface="Calibri" panose="020F0502020204030204" pitchFamily="34" charset="0"/>
                          <a:cs typeface="Times New Roman" panose="02020603050405020304" pitchFamily="18" charset="0"/>
                        </a:rPr>
                        <a:t>Deliver ~$7m OPEX cost savings in 2024</a:t>
                      </a:r>
                    </a:p>
                    <a:p>
                      <a:pPr marL="171450" marR="0" lvl="0" indent="-171450" algn="l" defTabSz="914400" rtl="0" eaLnBrk="1" fontAlgn="auto" latinLnBrk="0" hangingPunct="1">
                        <a:lnSpc>
                          <a:spcPct val="114000"/>
                        </a:lnSpc>
                        <a:spcBef>
                          <a:spcPts val="0"/>
                        </a:spcBef>
                        <a:spcAft>
                          <a:spcPts val="0"/>
                        </a:spcAft>
                        <a:buClr>
                          <a:srgbClr val="C00000"/>
                        </a:buClr>
                        <a:buSzTx/>
                        <a:buFont typeface="Wingdings" panose="05000000000000000000" pitchFamily="2" charset="2"/>
                        <a:buChar char="§"/>
                        <a:tabLst/>
                        <a:defRPr/>
                      </a:pPr>
                      <a:r>
                        <a:rPr lang="en-US" sz="1100" dirty="0">
                          <a:solidFill>
                            <a:srgbClr val="292929"/>
                          </a:solidFill>
                          <a:effectLst/>
                          <a:latin typeface="ShellLight" panose="00000400000000000000" pitchFamily="50" charset="0"/>
                          <a:ea typeface="Calibri" panose="020F0502020204030204" pitchFamily="34" charset="0"/>
                          <a:cs typeface="Times New Roman" panose="02020603050405020304" pitchFamily="18" charset="0"/>
                        </a:rPr>
                        <a:t>Prevent &gt; $20million/annum value erosion</a:t>
                      </a:r>
                    </a:p>
                    <a:p>
                      <a:pPr marL="171450" marR="0" lvl="0" indent="-171450" algn="l" defTabSz="914400" rtl="0" eaLnBrk="1" fontAlgn="auto" latinLnBrk="0" hangingPunct="1">
                        <a:lnSpc>
                          <a:spcPct val="114000"/>
                        </a:lnSpc>
                        <a:spcBef>
                          <a:spcPts val="0"/>
                        </a:spcBef>
                        <a:spcAft>
                          <a:spcPts val="0"/>
                        </a:spcAft>
                        <a:buClr>
                          <a:srgbClr val="C00000"/>
                        </a:buClr>
                        <a:buSzTx/>
                        <a:buFont typeface="Wingdings" panose="05000000000000000000" pitchFamily="2" charset="2"/>
                        <a:buChar char="§"/>
                        <a:tabLst/>
                        <a:defRPr/>
                      </a:pPr>
                      <a:r>
                        <a:rPr lang="en-US" sz="1100" dirty="0">
                          <a:solidFill>
                            <a:srgbClr val="292929"/>
                          </a:solidFill>
                          <a:effectLst/>
                          <a:latin typeface="ShellLight" panose="00000400000000000000" pitchFamily="50" charset="0"/>
                          <a:ea typeface="Calibri" panose="020F0502020204030204" pitchFamily="34" charset="0"/>
                          <a:cs typeface="Times New Roman" panose="02020603050405020304" pitchFamily="18" charset="0"/>
                        </a:rPr>
                        <a:t>Lower unit operating cost for SPDC Export Terminals</a:t>
                      </a:r>
                    </a:p>
                    <a:p>
                      <a:pPr marL="171450" marR="0" lvl="0" indent="-171450" algn="just" defTabSz="914400" rtl="0" eaLnBrk="1" fontAlgn="auto" latinLnBrk="0" hangingPunct="1">
                        <a:lnSpc>
                          <a:spcPct val="112000"/>
                        </a:lnSpc>
                        <a:spcBef>
                          <a:spcPts val="0"/>
                        </a:spcBef>
                        <a:spcAft>
                          <a:spcPts val="0"/>
                        </a:spcAft>
                        <a:buClrTx/>
                        <a:buSzTx/>
                        <a:buFont typeface="Wingdings" panose="05000000000000000000" pitchFamily="2" charset="2"/>
                        <a:buChar char="§"/>
                        <a:tabLst/>
                        <a:defRPr/>
                      </a:pPr>
                      <a:endParaRPr kumimoji="0" lang="en-GB" sz="1100" b="0" i="0" u="none" strike="noStrike" kern="1200" cap="none" spc="0" normalizeH="0" baseline="0" dirty="0">
                        <a:ln>
                          <a:noFill/>
                        </a:ln>
                        <a:solidFill>
                          <a:srgbClr val="292929"/>
                        </a:solidFill>
                        <a:effectLst/>
                        <a:uLnTx/>
                        <a:uFillTx/>
                        <a:latin typeface="ShellLight" panose="00000400000000000000" pitchFamily="50" charset="0"/>
                        <a:ea typeface="+mn-ea"/>
                        <a:cs typeface="+mn-cs"/>
                      </a:endParaRPr>
                    </a:p>
                  </a:txBody>
                  <a:tcPr horzOverflow="overflow">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bl>
          </a:graphicData>
        </a:graphic>
      </p:graphicFrame>
      <p:graphicFrame>
        <p:nvGraphicFramePr>
          <p:cNvPr id="12" name="Group 111">
            <a:extLst>
              <a:ext uri="{FF2B5EF4-FFF2-40B4-BE49-F238E27FC236}">
                <a16:creationId xmlns:a16="http://schemas.microsoft.com/office/drawing/2014/main" id="{8B0D94AA-F72A-343F-0CDD-0384A777EF21}"/>
              </a:ext>
            </a:extLst>
          </p:cNvPr>
          <p:cNvGraphicFramePr>
            <a:graphicFrameLocks noGrp="1"/>
          </p:cNvGraphicFramePr>
          <p:nvPr/>
        </p:nvGraphicFramePr>
        <p:xfrm>
          <a:off x="7185145" y="1117647"/>
          <a:ext cx="2068922" cy="734245"/>
        </p:xfrm>
        <a:graphic>
          <a:graphicData uri="http://schemas.openxmlformats.org/drawingml/2006/table">
            <a:tbl>
              <a:tblPr>
                <a:effectLst>
                  <a:outerShdw blurRad="50800" dist="38100" dir="2700000" algn="tl" rotWithShape="0">
                    <a:prstClr val="black">
                      <a:alpha val="40000"/>
                    </a:prstClr>
                  </a:outerShdw>
                </a:effectLst>
              </a:tblPr>
              <a:tblGrid>
                <a:gridCol w="2068922">
                  <a:extLst>
                    <a:ext uri="{9D8B030D-6E8A-4147-A177-3AD203B41FA5}">
                      <a16:colId xmlns:a16="http://schemas.microsoft.com/office/drawing/2014/main" val="20001"/>
                    </a:ext>
                  </a:extLst>
                </a:gridCol>
              </a:tblGrid>
              <a:tr h="734245">
                <a:tc>
                  <a:txBody>
                    <a:bodyPr/>
                    <a:lstStyle/>
                    <a:p>
                      <a:pPr marL="0" marR="0" lvl="0" indent="0" algn="ctr" defTabSz="914400" rtl="0" eaLnBrk="0" fontAlgn="base" latinLnBrk="0" hangingPunct="0">
                        <a:lnSpc>
                          <a:spcPct val="100000"/>
                        </a:lnSpc>
                        <a:spcBef>
                          <a:spcPct val="0"/>
                        </a:spcBef>
                        <a:spcAft>
                          <a:spcPct val="30000"/>
                        </a:spcAft>
                        <a:buClrTx/>
                        <a:buSzTx/>
                        <a:buFontTx/>
                        <a:buNone/>
                        <a:tabLst/>
                      </a:pPr>
                      <a:r>
                        <a:rPr kumimoji="0" lang="en-US" sz="1800" b="1" i="0" u="none" strike="noStrike" kern="1200" cap="none" normalizeH="0" baseline="0" dirty="0">
                          <a:ln>
                            <a:noFill/>
                          </a:ln>
                          <a:solidFill>
                            <a:schemeClr val="bg1"/>
                          </a:solidFill>
                          <a:effectLst/>
                          <a:latin typeface="+mn-lt"/>
                          <a:ea typeface="+mn-ea"/>
                          <a:cs typeface="Arial"/>
                        </a:rPr>
                        <a:t>Objectives</a:t>
                      </a:r>
                    </a:p>
                  </a:txBody>
                  <a:tcPr anchor="ctr" horzOverflow="overflow">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solidFill>
                      <a:schemeClr val="bg1">
                        <a:lumMod val="50000"/>
                      </a:schemeClr>
                    </a:solidFill>
                  </a:tcPr>
                </a:tc>
                <a:extLst>
                  <a:ext uri="{0D108BD9-81ED-4DB2-BD59-A6C34878D82A}">
                    <a16:rowId xmlns:a16="http://schemas.microsoft.com/office/drawing/2014/main" val="10000"/>
                  </a:ext>
                </a:extLst>
              </a:tr>
            </a:tbl>
          </a:graphicData>
        </a:graphic>
      </p:graphicFrame>
      <p:graphicFrame>
        <p:nvGraphicFramePr>
          <p:cNvPr id="17" name="Group 111">
            <a:extLst>
              <a:ext uri="{FF2B5EF4-FFF2-40B4-BE49-F238E27FC236}">
                <a16:creationId xmlns:a16="http://schemas.microsoft.com/office/drawing/2014/main" id="{4D0FEC4C-B5D1-718E-4C5C-2914F345FAE1}"/>
              </a:ext>
            </a:extLst>
          </p:cNvPr>
          <p:cNvGraphicFramePr>
            <a:graphicFrameLocks noGrp="1"/>
          </p:cNvGraphicFramePr>
          <p:nvPr/>
        </p:nvGraphicFramePr>
        <p:xfrm>
          <a:off x="9434838" y="1119481"/>
          <a:ext cx="2503078" cy="731520"/>
        </p:xfrm>
        <a:graphic>
          <a:graphicData uri="http://schemas.openxmlformats.org/drawingml/2006/table">
            <a:tbl>
              <a:tblPr>
                <a:effectLst>
                  <a:outerShdw blurRad="50800" dist="38100" dir="2700000" algn="tl" rotWithShape="0">
                    <a:prstClr val="black">
                      <a:alpha val="40000"/>
                    </a:prstClr>
                  </a:outerShdw>
                </a:effectLst>
              </a:tblPr>
              <a:tblGrid>
                <a:gridCol w="2503078">
                  <a:extLst>
                    <a:ext uri="{9D8B030D-6E8A-4147-A177-3AD203B41FA5}">
                      <a16:colId xmlns:a16="http://schemas.microsoft.com/office/drawing/2014/main" val="20002"/>
                    </a:ext>
                  </a:extLst>
                </a:gridCol>
              </a:tblGrid>
              <a:tr h="731520">
                <a:tc>
                  <a:txBody>
                    <a:bodyPr/>
                    <a:lstStyle/>
                    <a:p>
                      <a:pPr marL="0" marR="0" lvl="0" indent="0" algn="ctr" defTabSz="914400" rtl="0" eaLnBrk="0" fontAlgn="base" latinLnBrk="0" hangingPunct="0">
                        <a:lnSpc>
                          <a:spcPct val="100000"/>
                        </a:lnSpc>
                        <a:spcBef>
                          <a:spcPct val="0"/>
                        </a:spcBef>
                        <a:spcAft>
                          <a:spcPct val="30000"/>
                        </a:spcAft>
                        <a:buClrTx/>
                        <a:buSzTx/>
                        <a:buFontTx/>
                        <a:buNone/>
                        <a:tabLst/>
                      </a:pPr>
                      <a:r>
                        <a:rPr kumimoji="0" lang="en-GB" sz="1800" b="1" i="0" u="none" strike="noStrike" kern="1200" cap="none" normalizeH="0" baseline="0" dirty="0">
                          <a:ln>
                            <a:noFill/>
                          </a:ln>
                          <a:solidFill>
                            <a:schemeClr val="bg1"/>
                          </a:solidFill>
                          <a:effectLst/>
                          <a:latin typeface="+mn-lt"/>
                          <a:ea typeface="+mn-ea"/>
                          <a:cs typeface="Arial"/>
                        </a:rPr>
                        <a:t>Benefits</a:t>
                      </a:r>
                    </a:p>
                  </a:txBody>
                  <a:tcPr anchor="ctr" horzOverflow="overflow">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solidFill>
                      <a:schemeClr val="bg1">
                        <a:lumMod val="50000"/>
                      </a:schemeClr>
                    </a:solidFill>
                  </a:tcPr>
                </a:tc>
                <a:extLst>
                  <a:ext uri="{0D108BD9-81ED-4DB2-BD59-A6C34878D82A}">
                    <a16:rowId xmlns:a16="http://schemas.microsoft.com/office/drawing/2014/main" val="10000"/>
                  </a:ext>
                </a:extLst>
              </a:tr>
            </a:tbl>
          </a:graphicData>
        </a:graphic>
      </p:graphicFrame>
      <p:graphicFrame>
        <p:nvGraphicFramePr>
          <p:cNvPr id="18" name="Group 111">
            <a:extLst>
              <a:ext uri="{FF2B5EF4-FFF2-40B4-BE49-F238E27FC236}">
                <a16:creationId xmlns:a16="http://schemas.microsoft.com/office/drawing/2014/main" id="{E742F35E-EF82-6C56-C751-5E0640042804}"/>
              </a:ext>
            </a:extLst>
          </p:cNvPr>
          <p:cNvGraphicFramePr>
            <a:graphicFrameLocks noGrp="1"/>
          </p:cNvGraphicFramePr>
          <p:nvPr/>
        </p:nvGraphicFramePr>
        <p:xfrm>
          <a:off x="3621094" y="1120372"/>
          <a:ext cx="3383280" cy="731520"/>
        </p:xfrm>
        <a:graphic>
          <a:graphicData uri="http://schemas.openxmlformats.org/drawingml/2006/table">
            <a:tbl>
              <a:tblPr>
                <a:effectLst>
                  <a:outerShdw blurRad="50800" dist="38100" dir="2700000" algn="tl" rotWithShape="0">
                    <a:prstClr val="black">
                      <a:alpha val="40000"/>
                    </a:prstClr>
                  </a:outerShdw>
                </a:effectLst>
              </a:tblPr>
              <a:tblGrid>
                <a:gridCol w="3383280">
                  <a:extLst>
                    <a:ext uri="{9D8B030D-6E8A-4147-A177-3AD203B41FA5}">
                      <a16:colId xmlns:a16="http://schemas.microsoft.com/office/drawing/2014/main" val="20000"/>
                    </a:ext>
                  </a:extLst>
                </a:gridCol>
              </a:tblGrid>
              <a:tr h="731520">
                <a:tc>
                  <a:txBody>
                    <a:bodyPr/>
                    <a:lstStyle/>
                    <a:p>
                      <a:pPr marL="0" marR="0" lvl="0" indent="0" algn="ctr" defTabSz="914400" rtl="0" eaLnBrk="0" fontAlgn="base" latinLnBrk="0" hangingPunct="0">
                        <a:lnSpc>
                          <a:spcPct val="100000"/>
                        </a:lnSpc>
                        <a:spcBef>
                          <a:spcPct val="0"/>
                        </a:spcBef>
                        <a:spcAft>
                          <a:spcPct val="30000"/>
                        </a:spcAft>
                        <a:buClrTx/>
                        <a:buSzTx/>
                        <a:buFontTx/>
                        <a:buNone/>
                        <a:tabLst/>
                      </a:pPr>
                      <a:r>
                        <a:rPr kumimoji="0" lang="en-GB" sz="1800" b="1" i="0" u="none" strike="noStrike" cap="none" normalizeH="0" baseline="0" dirty="0">
                          <a:ln>
                            <a:noFill/>
                          </a:ln>
                          <a:solidFill>
                            <a:schemeClr val="bg1"/>
                          </a:solidFill>
                          <a:effectLst/>
                          <a:latin typeface="+mn-lt"/>
                          <a:cs typeface="Arial"/>
                        </a:rPr>
                        <a:t>Business Case</a:t>
                      </a:r>
                    </a:p>
                  </a:txBody>
                  <a:tcPr anchor="ctr" horzOverflow="overflow">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solidFill>
                      <a:schemeClr val="bg1">
                        <a:lumMod val="50000"/>
                      </a:schemeClr>
                    </a:solidFill>
                  </a:tcPr>
                </a:tc>
                <a:extLst>
                  <a:ext uri="{0D108BD9-81ED-4DB2-BD59-A6C34878D82A}">
                    <a16:rowId xmlns:a16="http://schemas.microsoft.com/office/drawing/2014/main" val="10000"/>
                  </a:ext>
                </a:extLst>
              </a:tr>
            </a:tbl>
          </a:graphicData>
        </a:graphic>
      </p:graphicFrame>
      <p:sp>
        <p:nvSpPr>
          <p:cNvPr id="21" name="Title 1">
            <a:extLst>
              <a:ext uri="{FF2B5EF4-FFF2-40B4-BE49-F238E27FC236}">
                <a16:creationId xmlns:a16="http://schemas.microsoft.com/office/drawing/2014/main" id="{EF751EEA-0EC6-C874-8603-6303AD559E38}"/>
              </a:ext>
            </a:extLst>
          </p:cNvPr>
          <p:cNvSpPr>
            <a:spLocks noGrp="1"/>
          </p:cNvSpPr>
          <p:nvPr>
            <p:ph type="title"/>
          </p:nvPr>
        </p:nvSpPr>
        <p:spPr>
          <a:xfrm>
            <a:off x="123353" y="602636"/>
            <a:ext cx="11668152" cy="317255"/>
          </a:xfrm>
        </p:spPr>
        <p:txBody>
          <a:bodyPr vert="horz"/>
          <a:lstStyle/>
          <a:p>
            <a:r>
              <a:rPr lang="en-GB" dirty="0"/>
              <a:t>Initiative Title: </a:t>
            </a:r>
            <a:r>
              <a:rPr lang="en-GB" dirty="0">
                <a:solidFill>
                  <a:srgbClr val="C00000"/>
                </a:solidFill>
              </a:rPr>
              <a:t>Eliminating Demurrage in SPDC Terminals</a:t>
            </a:r>
            <a:endParaRPr lang="en-US" sz="3200" dirty="0">
              <a:latin typeface="Futura Bold" panose="00000900000000000000" pitchFamily="2" charset="0"/>
            </a:endParaRPr>
          </a:p>
        </p:txBody>
      </p:sp>
      <p:sp>
        <p:nvSpPr>
          <p:cNvPr id="27" name="Arrow: Up 26">
            <a:extLst>
              <a:ext uri="{FF2B5EF4-FFF2-40B4-BE49-F238E27FC236}">
                <a16:creationId xmlns:a16="http://schemas.microsoft.com/office/drawing/2014/main" id="{7F57073F-0C57-A91C-B5C1-B00584456675}"/>
              </a:ext>
            </a:extLst>
          </p:cNvPr>
          <p:cNvSpPr/>
          <p:nvPr/>
        </p:nvSpPr>
        <p:spPr>
          <a:xfrm>
            <a:off x="538941" y="1802861"/>
            <a:ext cx="172015" cy="828000"/>
          </a:xfrm>
          <a:prstGeom prst="upArrow">
            <a:avLst/>
          </a:prstGeom>
          <a:solidFill>
            <a:srgbClr val="FBCE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pic>
        <p:nvPicPr>
          <p:cNvPr id="3" name="Picture 2">
            <a:extLst>
              <a:ext uri="{FF2B5EF4-FFF2-40B4-BE49-F238E27FC236}">
                <a16:creationId xmlns:a16="http://schemas.microsoft.com/office/drawing/2014/main" id="{E19DF511-9A7E-2A9F-092B-AA5821B0A908}"/>
              </a:ext>
            </a:extLst>
          </p:cNvPr>
          <p:cNvPicPr>
            <a:picLocks noChangeAspect="1"/>
          </p:cNvPicPr>
          <p:nvPr/>
        </p:nvPicPr>
        <p:blipFill>
          <a:blip r:embed="rId5"/>
          <a:stretch>
            <a:fillRect/>
          </a:stretch>
        </p:blipFill>
        <p:spPr>
          <a:xfrm>
            <a:off x="141952" y="4054647"/>
            <a:ext cx="3301272" cy="2176970"/>
          </a:xfrm>
          <a:prstGeom prst="rect">
            <a:avLst/>
          </a:prstGeom>
        </p:spPr>
      </p:pic>
      <p:sp>
        <p:nvSpPr>
          <p:cNvPr id="5" name="Slide Number Placeholder 4">
            <a:extLst>
              <a:ext uri="{FF2B5EF4-FFF2-40B4-BE49-F238E27FC236}">
                <a16:creationId xmlns:a16="http://schemas.microsoft.com/office/drawing/2014/main" id="{C7D16874-F198-50D7-E7A5-2B0C18602B35}"/>
              </a:ext>
            </a:extLst>
          </p:cNvPr>
          <p:cNvSpPr>
            <a:spLocks noGrp="1"/>
          </p:cNvSpPr>
          <p:nvPr>
            <p:ph type="sldNum" sz="quarter" idx="4"/>
          </p:nvPr>
        </p:nvSpPr>
        <p:spPr/>
        <p:txBody>
          <a:bodyPr/>
          <a:lstStyle/>
          <a:p>
            <a:fld id="{D32BAE6A-B452-4007-8177-56DD051636F9}" type="slidenum">
              <a:rPr lang="en-GB" noProof="1" smtClean="0"/>
              <a:pPr/>
              <a:t>2</a:t>
            </a:fld>
            <a:endParaRPr lang="en-GB" noProof="1"/>
          </a:p>
        </p:txBody>
      </p:sp>
      <p:sp>
        <p:nvSpPr>
          <p:cNvPr id="6" name="Date Placeholder 5">
            <a:extLst>
              <a:ext uri="{FF2B5EF4-FFF2-40B4-BE49-F238E27FC236}">
                <a16:creationId xmlns:a16="http://schemas.microsoft.com/office/drawing/2014/main" id="{0DA22785-DC51-BB9A-C07E-BD80A8103909}"/>
              </a:ext>
            </a:extLst>
          </p:cNvPr>
          <p:cNvSpPr>
            <a:spLocks noGrp="1"/>
          </p:cNvSpPr>
          <p:nvPr>
            <p:ph type="dt" sz="half" idx="2"/>
          </p:nvPr>
        </p:nvSpPr>
        <p:spPr/>
        <p:txBody>
          <a:bodyPr/>
          <a:lstStyle/>
          <a:p>
            <a:pPr>
              <a:defRPr/>
            </a:pPr>
            <a:r>
              <a:rPr lang="en-GB" noProof="1"/>
              <a:t>Feb 2024</a:t>
            </a:r>
          </a:p>
        </p:txBody>
      </p:sp>
    </p:spTree>
    <p:extLst>
      <p:ext uri="{BB962C8B-B14F-4D97-AF65-F5344CB8AC3E}">
        <p14:creationId xmlns:p14="http://schemas.microsoft.com/office/powerpoint/2010/main" val="3434281376"/>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C0F7E0B-8C4E-43E8-993B-2BBEEE283B8F}"/>
              </a:ext>
            </a:extLst>
          </p:cNvPr>
          <p:cNvGraphicFramePr>
            <a:graphicFrameLocks noChangeAspect="1"/>
          </p:cNvGraphicFramePr>
          <p:nvPr>
            <p:custDataLst>
              <p:tags r:id="rId1"/>
            </p:custDataLst>
            <p:extLst>
              <p:ext uri="{D42A27DB-BD31-4B8C-83A1-F6EECF244321}">
                <p14:modId xmlns:p14="http://schemas.microsoft.com/office/powerpoint/2010/main" val="322303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4" progId="TCLayout.ActiveDocument.1">
                  <p:embed/>
                </p:oleObj>
              </mc:Choice>
              <mc:Fallback>
                <p:oleObj name="think-cell Slide" r:id="rId12" imgW="395" imgH="394" progId="TCLayout.ActiveDocument.1">
                  <p:embed/>
                  <p:pic>
                    <p:nvPicPr>
                      <p:cNvPr id="4" name="Object 3" hidden="1">
                        <a:extLst>
                          <a:ext uri="{FF2B5EF4-FFF2-40B4-BE49-F238E27FC236}">
                            <a16:creationId xmlns:a16="http://schemas.microsoft.com/office/drawing/2014/main" id="{6C0F7E0B-8C4E-43E8-993B-2BBEEE283B8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7BDEDD1-B397-4EC1-A6BB-A91B84B4BC2A}"/>
              </a:ext>
            </a:extLst>
          </p:cNvPr>
          <p:cNvSpPr/>
          <p:nvPr>
            <p:custDataLst>
              <p:tags r:id="rId2"/>
            </p:custDataLst>
          </p:nvPr>
        </p:nvSpPr>
        <p:spPr>
          <a:xfrm>
            <a:off x="0" y="0"/>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200" b="1" dirty="0" err="1">
              <a:solidFill>
                <a:schemeClr val="tx1"/>
              </a:solidFill>
              <a:latin typeface="Futura Bold" panose="00000900000000000000" pitchFamily="2" charset="0"/>
              <a:ea typeface="Arial Unicode MS"/>
              <a:sym typeface="Futura Bold" panose="00000900000000000000" pitchFamily="2" charset="0"/>
            </a:endParaRPr>
          </a:p>
        </p:txBody>
      </p:sp>
      <p:sp>
        <p:nvSpPr>
          <p:cNvPr id="2" name="Title 1">
            <a:extLst>
              <a:ext uri="{FF2B5EF4-FFF2-40B4-BE49-F238E27FC236}">
                <a16:creationId xmlns:a16="http://schemas.microsoft.com/office/drawing/2014/main" id="{464FDD15-D96D-4BFF-8CC9-8D18E5FB5447}"/>
              </a:ext>
            </a:extLst>
          </p:cNvPr>
          <p:cNvSpPr>
            <a:spLocks noGrp="1"/>
          </p:cNvSpPr>
          <p:nvPr>
            <p:ph type="title"/>
          </p:nvPr>
        </p:nvSpPr>
        <p:spPr>
          <a:xfrm>
            <a:off x="508000" y="597298"/>
            <a:ext cx="11171238" cy="432601"/>
          </a:xfrm>
        </p:spPr>
        <p:txBody>
          <a:bodyPr vert="horz"/>
          <a:lstStyle/>
          <a:p>
            <a:r>
              <a:rPr lang="en-US" dirty="0"/>
              <a:t>Initiative Update</a:t>
            </a:r>
            <a:endParaRPr lang="en-GB" dirty="0"/>
          </a:p>
        </p:txBody>
      </p:sp>
      <p:sp>
        <p:nvSpPr>
          <p:cNvPr id="17" name="TextBox 16">
            <a:extLst>
              <a:ext uri="{FF2B5EF4-FFF2-40B4-BE49-F238E27FC236}">
                <a16:creationId xmlns:a16="http://schemas.microsoft.com/office/drawing/2014/main" id="{85A724D0-2EC9-4806-BD4D-8E7BA6A5C4FC}"/>
              </a:ext>
            </a:extLst>
          </p:cNvPr>
          <p:cNvSpPr txBox="1"/>
          <p:nvPr>
            <p:custDataLst>
              <p:tags r:id="rId3"/>
            </p:custDataLst>
          </p:nvPr>
        </p:nvSpPr>
        <p:spPr>
          <a:xfrm>
            <a:off x="508010" y="1578059"/>
            <a:ext cx="3142765" cy="451508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lvl="1">
              <a:spcBef>
                <a:spcPct val="60000"/>
              </a:spcBef>
            </a:pPr>
            <a:r>
              <a:rPr lang="en-GB" sz="1400" dirty="0"/>
              <a:t>Analysis of 2023 demurrage claims to understand the reasons with the biggest claims amount </a:t>
            </a:r>
          </a:p>
          <a:p>
            <a:pPr lvl="1">
              <a:spcBef>
                <a:spcPct val="60000"/>
              </a:spcBef>
            </a:pPr>
            <a:r>
              <a:rPr lang="en-GB" sz="1400" dirty="0"/>
              <a:t>Root cause analysis for the demurrage claims</a:t>
            </a:r>
          </a:p>
          <a:p>
            <a:pPr lvl="1">
              <a:spcBef>
                <a:spcPct val="60000"/>
              </a:spcBef>
            </a:pPr>
            <a:r>
              <a:rPr lang="en-US" sz="1400" dirty="0"/>
              <a:t>High level solutions for the biggest contributory causes</a:t>
            </a:r>
          </a:p>
          <a:p>
            <a:pPr lvl="1">
              <a:spcBef>
                <a:spcPct val="60000"/>
              </a:spcBef>
            </a:pPr>
            <a:r>
              <a:rPr lang="en-US" sz="1400" dirty="0"/>
              <a:t>Progress initiative from L0 to L3 in Fit4</a:t>
            </a:r>
          </a:p>
          <a:p>
            <a:pPr lvl="1">
              <a:spcBef>
                <a:spcPct val="60000"/>
              </a:spcBef>
            </a:pPr>
            <a:r>
              <a:rPr lang="en-US" sz="1400" dirty="0"/>
              <a:t>~$1M demurrage incurred in 2024 YTD ($0.4M BOGT; $0.5M FOT; $72k SE)</a:t>
            </a:r>
          </a:p>
          <a:p>
            <a:pPr lvl="1">
              <a:spcBef>
                <a:spcPct val="60000"/>
              </a:spcBef>
            </a:pPr>
            <a:r>
              <a:rPr lang="en-US" sz="1400" dirty="0"/>
              <a:t>$306K - TCMS related demurrage YTD</a:t>
            </a:r>
          </a:p>
          <a:p>
            <a:pPr lvl="1">
              <a:spcBef>
                <a:spcPct val="60000"/>
              </a:spcBef>
            </a:pPr>
            <a:r>
              <a:rPr lang="en-US" sz="1400" dirty="0"/>
              <a:t>Basis for impact:</a:t>
            </a:r>
            <a:r>
              <a:rPr lang="en-US" sz="1100" dirty="0"/>
              <a:t> $7M budget figure less the actuals incurred in 2024 YTD less the estimated annual demurrage from slower loading with TCMS.</a:t>
            </a:r>
          </a:p>
        </p:txBody>
      </p:sp>
      <p:sp>
        <p:nvSpPr>
          <p:cNvPr id="19" name="TextBox 18">
            <a:extLst>
              <a:ext uri="{FF2B5EF4-FFF2-40B4-BE49-F238E27FC236}">
                <a16:creationId xmlns:a16="http://schemas.microsoft.com/office/drawing/2014/main" id="{72B218D9-0FCC-4D4E-85BA-530A66E916BD}"/>
              </a:ext>
            </a:extLst>
          </p:cNvPr>
          <p:cNvSpPr txBox="1"/>
          <p:nvPr>
            <p:custDataLst>
              <p:tags r:id="rId4"/>
            </p:custDataLst>
          </p:nvPr>
        </p:nvSpPr>
        <p:spPr>
          <a:xfrm>
            <a:off x="4022309" y="1545943"/>
            <a:ext cx="3593141" cy="275767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lvl="1">
              <a:spcBef>
                <a:spcPct val="60000"/>
              </a:spcBef>
            </a:pPr>
            <a:r>
              <a:rPr lang="en-US" dirty="0"/>
              <a:t>Detailed solution planning – implementation plans for solutions in need of further development</a:t>
            </a:r>
          </a:p>
          <a:p>
            <a:pPr lvl="1">
              <a:spcBef>
                <a:spcPct val="60000"/>
              </a:spcBef>
            </a:pPr>
            <a:r>
              <a:rPr lang="en-US" dirty="0"/>
              <a:t>Determine cost-benefit for proposed solution: Provide additional Personnel Carrier for Terminal Ops.</a:t>
            </a:r>
          </a:p>
          <a:p>
            <a:pPr lvl="1">
              <a:spcBef>
                <a:spcPct val="60000"/>
              </a:spcBef>
            </a:pPr>
            <a:r>
              <a:rPr lang="en-US" dirty="0"/>
              <a:t>Estimate the annual demurrage claim associated with exporting from TCMS = $57,278*no of loading from TCMS</a:t>
            </a:r>
          </a:p>
        </p:txBody>
      </p:sp>
      <p:sp>
        <p:nvSpPr>
          <p:cNvPr id="20" name="TextBox 19">
            <a:extLst>
              <a:ext uri="{FF2B5EF4-FFF2-40B4-BE49-F238E27FC236}">
                <a16:creationId xmlns:a16="http://schemas.microsoft.com/office/drawing/2014/main" id="{E0A550CC-4811-4545-95E6-2F26E762C0E1}"/>
              </a:ext>
            </a:extLst>
          </p:cNvPr>
          <p:cNvSpPr txBox="1"/>
          <p:nvPr>
            <p:custDataLst>
              <p:tags r:id="rId5"/>
            </p:custDataLst>
          </p:nvPr>
        </p:nvSpPr>
        <p:spPr>
          <a:xfrm>
            <a:off x="7918068" y="1545943"/>
            <a:ext cx="3593141"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lvl="1">
              <a:spcBef>
                <a:spcPct val="60000"/>
              </a:spcBef>
            </a:pPr>
            <a:r>
              <a:rPr lang="en-GB" dirty="0"/>
              <a:t>None</a:t>
            </a:r>
          </a:p>
        </p:txBody>
      </p:sp>
      <p:grpSp>
        <p:nvGrpSpPr>
          <p:cNvPr id="39" name="Group 38">
            <a:extLst>
              <a:ext uri="{FF2B5EF4-FFF2-40B4-BE49-F238E27FC236}">
                <a16:creationId xmlns:a16="http://schemas.microsoft.com/office/drawing/2014/main" id="{571A0AB5-8C97-432D-8CF3-450D47C18257}"/>
              </a:ext>
            </a:extLst>
          </p:cNvPr>
          <p:cNvGrpSpPr/>
          <p:nvPr/>
        </p:nvGrpSpPr>
        <p:grpSpPr>
          <a:xfrm>
            <a:off x="4022309" y="961914"/>
            <a:ext cx="3593141" cy="545127"/>
            <a:chOff x="4022309" y="1556629"/>
            <a:chExt cx="3593141" cy="545127"/>
          </a:xfrm>
        </p:grpSpPr>
        <p:sp>
          <p:nvSpPr>
            <p:cNvPr id="7" name="TextBox 6">
              <a:extLst>
                <a:ext uri="{FF2B5EF4-FFF2-40B4-BE49-F238E27FC236}">
                  <a16:creationId xmlns:a16="http://schemas.microsoft.com/office/drawing/2014/main" id="{DF95735E-2BB3-448D-A4E0-56BC1484AA84}"/>
                </a:ext>
              </a:extLst>
            </p:cNvPr>
            <p:cNvSpPr txBox="1"/>
            <p:nvPr/>
          </p:nvSpPr>
          <p:spPr>
            <a:xfrm>
              <a:off x="4622813" y="1815074"/>
              <a:ext cx="2244712"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r>
                <a:rPr lang="en-GB" b="1" dirty="0">
                  <a:solidFill>
                    <a:srgbClr val="C00000"/>
                  </a:solidFill>
                </a:rPr>
                <a:t>Promise for next week</a:t>
              </a:r>
            </a:p>
          </p:txBody>
        </p:sp>
        <p:cxnSp>
          <p:nvCxnSpPr>
            <p:cNvPr id="11" name="Straight Connector 10">
              <a:extLst>
                <a:ext uri="{FF2B5EF4-FFF2-40B4-BE49-F238E27FC236}">
                  <a16:creationId xmlns:a16="http://schemas.microsoft.com/office/drawing/2014/main" id="{6082B941-E71C-4C18-B8A5-6DE3E4A216B8}"/>
                </a:ext>
              </a:extLst>
            </p:cNvPr>
            <p:cNvCxnSpPr>
              <a:cxnSpLocks/>
            </p:cNvCxnSpPr>
            <p:nvPr/>
          </p:nvCxnSpPr>
          <p:spPr>
            <a:xfrm>
              <a:off x="4022309" y="2101756"/>
              <a:ext cx="359314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26" name="CustomIcon" descr="End">
              <a:extLst>
                <a:ext uri="{FF2B5EF4-FFF2-40B4-BE49-F238E27FC236}">
                  <a16:creationId xmlns:a16="http://schemas.microsoft.com/office/drawing/2014/main" id="{80ADF1B4-8A94-4691-B6B0-35318FFDC796}"/>
                </a:ext>
              </a:extLst>
            </p:cNvPr>
            <p:cNvPicPr>
              <a:picLocks noChangeAspect="1"/>
            </p:cNvPicPr>
            <p:nvPr>
              <p:custDataLst>
                <p:tags r:id="rId9"/>
              </p:custDataLst>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4022309" y="1556629"/>
              <a:ext cx="504666" cy="504666"/>
            </a:xfrm>
            <a:prstGeom prst="rect">
              <a:avLst/>
            </a:prstGeom>
          </p:spPr>
        </p:pic>
      </p:grpSp>
      <p:grpSp>
        <p:nvGrpSpPr>
          <p:cNvPr id="40" name="Group 39">
            <a:extLst>
              <a:ext uri="{FF2B5EF4-FFF2-40B4-BE49-F238E27FC236}">
                <a16:creationId xmlns:a16="http://schemas.microsoft.com/office/drawing/2014/main" id="{2114C163-29DC-4352-A17A-0E56321DCE90}"/>
              </a:ext>
            </a:extLst>
          </p:cNvPr>
          <p:cNvGrpSpPr/>
          <p:nvPr/>
        </p:nvGrpSpPr>
        <p:grpSpPr>
          <a:xfrm>
            <a:off x="7918068" y="961914"/>
            <a:ext cx="3737683" cy="545127"/>
            <a:chOff x="7918068" y="1556629"/>
            <a:chExt cx="3737683" cy="545127"/>
          </a:xfrm>
        </p:grpSpPr>
        <p:sp>
          <p:nvSpPr>
            <p:cNvPr id="8" name="TextBox 7">
              <a:extLst>
                <a:ext uri="{FF2B5EF4-FFF2-40B4-BE49-F238E27FC236}">
                  <a16:creationId xmlns:a16="http://schemas.microsoft.com/office/drawing/2014/main" id="{EED5A17A-6358-4E8C-B3ED-00EB159DBEC0}"/>
                </a:ext>
              </a:extLst>
            </p:cNvPr>
            <p:cNvSpPr txBox="1"/>
            <p:nvPr/>
          </p:nvSpPr>
          <p:spPr>
            <a:xfrm>
              <a:off x="8518572" y="1815074"/>
              <a:ext cx="3137179"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r>
                <a:rPr lang="en-GB" b="1" dirty="0">
                  <a:solidFill>
                    <a:srgbClr val="C00000"/>
                  </a:solidFill>
                </a:rPr>
                <a:t>Support required/Key decisions</a:t>
              </a:r>
            </a:p>
          </p:txBody>
        </p:sp>
        <p:cxnSp>
          <p:nvCxnSpPr>
            <p:cNvPr id="13" name="Straight Connector 12">
              <a:extLst>
                <a:ext uri="{FF2B5EF4-FFF2-40B4-BE49-F238E27FC236}">
                  <a16:creationId xmlns:a16="http://schemas.microsoft.com/office/drawing/2014/main" id="{8E08B613-18CA-4BA2-BCFF-AE09CB6DD9F1}"/>
                </a:ext>
              </a:extLst>
            </p:cNvPr>
            <p:cNvCxnSpPr>
              <a:cxnSpLocks/>
            </p:cNvCxnSpPr>
            <p:nvPr/>
          </p:nvCxnSpPr>
          <p:spPr>
            <a:xfrm>
              <a:off x="7918068" y="2101756"/>
              <a:ext cx="359314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32" name="CustomIcon" descr="Open hand">
              <a:extLst>
                <a:ext uri="{FF2B5EF4-FFF2-40B4-BE49-F238E27FC236}">
                  <a16:creationId xmlns:a16="http://schemas.microsoft.com/office/drawing/2014/main" id="{7E1FA945-F5BF-4BD7-BA7F-727BFC72C085}"/>
                </a:ext>
              </a:extLst>
            </p:cNvPr>
            <p:cNvPicPr>
              <a:picLocks noChangeAspect="1"/>
            </p:cNvPicPr>
            <p:nvPr>
              <p:custDataLst>
                <p:tags r:id="rId8"/>
              </p:custDataLst>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7918068" y="1556629"/>
              <a:ext cx="504666" cy="504666"/>
            </a:xfrm>
            <a:prstGeom prst="rect">
              <a:avLst/>
            </a:prstGeom>
          </p:spPr>
        </p:pic>
      </p:grpSp>
      <p:grpSp>
        <p:nvGrpSpPr>
          <p:cNvPr id="38" name="Group 37">
            <a:extLst>
              <a:ext uri="{FF2B5EF4-FFF2-40B4-BE49-F238E27FC236}">
                <a16:creationId xmlns:a16="http://schemas.microsoft.com/office/drawing/2014/main" id="{862B4404-FAAC-4E55-9046-76DFFFA61986}"/>
              </a:ext>
            </a:extLst>
          </p:cNvPr>
          <p:cNvGrpSpPr/>
          <p:nvPr/>
        </p:nvGrpSpPr>
        <p:grpSpPr>
          <a:xfrm>
            <a:off x="508011" y="961914"/>
            <a:ext cx="3142765" cy="545127"/>
            <a:chOff x="508011" y="1556629"/>
            <a:chExt cx="3142765" cy="545127"/>
          </a:xfrm>
        </p:grpSpPr>
        <p:sp>
          <p:nvSpPr>
            <p:cNvPr id="6" name="TextBox 5">
              <a:extLst>
                <a:ext uri="{FF2B5EF4-FFF2-40B4-BE49-F238E27FC236}">
                  <a16:creationId xmlns:a16="http://schemas.microsoft.com/office/drawing/2014/main" id="{9E892FA0-EC42-41DF-9A16-1702B64DC70B}"/>
                </a:ext>
              </a:extLst>
            </p:cNvPr>
            <p:cNvSpPr txBox="1"/>
            <p:nvPr/>
          </p:nvSpPr>
          <p:spPr>
            <a:xfrm>
              <a:off x="1108515" y="1815074"/>
              <a:ext cx="1948586"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r>
                <a:rPr lang="en-GB" b="1" dirty="0">
                  <a:solidFill>
                    <a:srgbClr val="C00000"/>
                  </a:solidFill>
                </a:rPr>
                <a:t>Previous Weeks</a:t>
              </a:r>
            </a:p>
          </p:txBody>
        </p:sp>
        <p:cxnSp>
          <p:nvCxnSpPr>
            <p:cNvPr id="10" name="Straight Connector 9">
              <a:extLst>
                <a:ext uri="{FF2B5EF4-FFF2-40B4-BE49-F238E27FC236}">
                  <a16:creationId xmlns:a16="http://schemas.microsoft.com/office/drawing/2014/main" id="{2C5535C2-C577-466D-8FE0-1C689BB5D369}"/>
                </a:ext>
              </a:extLst>
            </p:cNvPr>
            <p:cNvCxnSpPr/>
            <p:nvPr/>
          </p:nvCxnSpPr>
          <p:spPr>
            <a:xfrm>
              <a:off x="508011" y="2101756"/>
              <a:ext cx="314276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36" name="CustomIcon" descr="Beginning">
              <a:extLst>
                <a:ext uri="{FF2B5EF4-FFF2-40B4-BE49-F238E27FC236}">
                  <a16:creationId xmlns:a16="http://schemas.microsoft.com/office/drawing/2014/main" id="{791D27C1-85F4-4123-9E08-23EC9E360AB5}"/>
                </a:ext>
              </a:extLst>
            </p:cNvPr>
            <p:cNvPicPr>
              <a:picLocks noChangeAspect="1"/>
            </p:cNvPicPr>
            <p:nvPr>
              <p:custDataLst>
                <p:tags r:id="rId7"/>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a:stretch/>
          </p:blipFill>
          <p:spPr>
            <a:xfrm>
              <a:off x="508011" y="1556629"/>
              <a:ext cx="504666" cy="504666"/>
            </a:xfrm>
            <a:prstGeom prst="rect">
              <a:avLst/>
            </a:prstGeom>
          </p:spPr>
        </p:pic>
      </p:grpSp>
      <p:grpSp>
        <p:nvGrpSpPr>
          <p:cNvPr id="47" name="Group 46">
            <a:extLst>
              <a:ext uri="{FF2B5EF4-FFF2-40B4-BE49-F238E27FC236}">
                <a16:creationId xmlns:a16="http://schemas.microsoft.com/office/drawing/2014/main" id="{5308884D-6F5C-48A6-8C26-393EF7172D0A}"/>
              </a:ext>
            </a:extLst>
          </p:cNvPr>
          <p:cNvGrpSpPr/>
          <p:nvPr/>
        </p:nvGrpSpPr>
        <p:grpSpPr>
          <a:xfrm>
            <a:off x="9544736" y="4968664"/>
            <a:ext cx="2286000" cy="545127"/>
            <a:chOff x="7918068" y="4843985"/>
            <a:chExt cx="2286000" cy="545127"/>
          </a:xfrm>
        </p:grpSpPr>
        <p:pic>
          <p:nvPicPr>
            <p:cNvPr id="46" name="CustomIcon" descr="Money">
              <a:extLst>
                <a:ext uri="{FF2B5EF4-FFF2-40B4-BE49-F238E27FC236}">
                  <a16:creationId xmlns:a16="http://schemas.microsoft.com/office/drawing/2014/main" id="{40E3224C-E7F2-4C21-A3FC-B27149582EE0}"/>
                </a:ext>
              </a:extLst>
            </p:cNvPr>
            <p:cNvPicPr>
              <a:picLocks/>
            </p:cNvPicPr>
            <p:nvPr>
              <p:custDataLst>
                <p:tags r:id="rId6"/>
              </p:custDataLst>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a:stretch/>
          </p:blipFill>
          <p:spPr>
            <a:xfrm>
              <a:off x="7918068" y="4843985"/>
              <a:ext cx="504666" cy="504666"/>
            </a:xfrm>
            <a:prstGeom prst="rect">
              <a:avLst/>
            </a:prstGeom>
          </p:spPr>
        </p:pic>
        <p:sp>
          <p:nvSpPr>
            <p:cNvPr id="42" name="TextBox 41">
              <a:extLst>
                <a:ext uri="{FF2B5EF4-FFF2-40B4-BE49-F238E27FC236}">
                  <a16:creationId xmlns:a16="http://schemas.microsoft.com/office/drawing/2014/main" id="{B1BB8544-6C23-4382-AFE2-936213A42F4C}"/>
                </a:ext>
              </a:extLst>
            </p:cNvPr>
            <p:cNvSpPr txBox="1"/>
            <p:nvPr/>
          </p:nvSpPr>
          <p:spPr>
            <a:xfrm>
              <a:off x="8518572" y="5102431"/>
              <a:ext cx="1655331"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r>
                <a:rPr lang="en-GB" b="1" dirty="0">
                  <a:solidFill>
                    <a:srgbClr val="C00000"/>
                  </a:solidFill>
                </a:rPr>
                <a:t>Expected impact</a:t>
              </a:r>
            </a:p>
          </p:txBody>
        </p:sp>
        <p:cxnSp>
          <p:nvCxnSpPr>
            <p:cNvPr id="43" name="Straight Connector 42">
              <a:extLst>
                <a:ext uri="{FF2B5EF4-FFF2-40B4-BE49-F238E27FC236}">
                  <a16:creationId xmlns:a16="http://schemas.microsoft.com/office/drawing/2014/main" id="{75B9784D-29BC-4C40-BA2C-1E5117D8656B}"/>
                </a:ext>
              </a:extLst>
            </p:cNvPr>
            <p:cNvCxnSpPr>
              <a:cxnSpLocks/>
            </p:cNvCxnSpPr>
            <p:nvPr/>
          </p:nvCxnSpPr>
          <p:spPr>
            <a:xfrm>
              <a:off x="7918068" y="5389112"/>
              <a:ext cx="2286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48" name="Rectangle 47">
            <a:extLst>
              <a:ext uri="{FF2B5EF4-FFF2-40B4-BE49-F238E27FC236}">
                <a16:creationId xmlns:a16="http://schemas.microsoft.com/office/drawing/2014/main" id="{D32A37EF-6772-441F-B4BB-4074CE3EE38F}"/>
              </a:ext>
            </a:extLst>
          </p:cNvPr>
          <p:cNvSpPr/>
          <p:nvPr/>
        </p:nvSpPr>
        <p:spPr>
          <a:xfrm>
            <a:off x="9544736" y="5568287"/>
            <a:ext cx="2255835" cy="723307"/>
          </a:xfrm>
          <a:prstGeom prst="rect">
            <a:avLst/>
          </a:prstGeom>
          <a:solidFill>
            <a:srgbClr val="DD1D2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solidFill>
              </a:rPr>
              <a:t>2024: $6M*</a:t>
            </a:r>
          </a:p>
        </p:txBody>
      </p:sp>
      <p:sp>
        <p:nvSpPr>
          <p:cNvPr id="51" name="1. On-page tracker">
            <a:extLst>
              <a:ext uri="{FF2B5EF4-FFF2-40B4-BE49-F238E27FC236}">
                <a16:creationId xmlns:a16="http://schemas.microsoft.com/office/drawing/2014/main" id="{26DFC6FF-09FC-4C1C-B0B7-CCFBF1EE3489}"/>
              </a:ext>
            </a:extLst>
          </p:cNvPr>
          <p:cNvSpPr>
            <a:spLocks noChangeArrowheads="1"/>
          </p:cNvSpPr>
          <p:nvPr/>
        </p:nvSpPr>
        <p:spPr bwMode="auto">
          <a:xfrm>
            <a:off x="508011" y="290022"/>
            <a:ext cx="379539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lvl="0"/>
            <a:r>
              <a:rPr lang="en-US" sz="1200" dirty="0">
                <a:solidFill>
                  <a:srgbClr val="808080"/>
                </a:solidFill>
                <a:latin typeface="Futura Medium" panose="00000400000000000000" pitchFamily="2" charset="0"/>
              </a:rPr>
              <a:t>I-2889155: Eliminating Demurrage in SPDC Terminals</a:t>
            </a:r>
          </a:p>
        </p:txBody>
      </p:sp>
      <p:sp>
        <p:nvSpPr>
          <p:cNvPr id="14" name="Slide Number Placeholder 13">
            <a:extLst>
              <a:ext uri="{FF2B5EF4-FFF2-40B4-BE49-F238E27FC236}">
                <a16:creationId xmlns:a16="http://schemas.microsoft.com/office/drawing/2014/main" id="{14520783-7DA7-61E1-BEEE-887571D9E160}"/>
              </a:ext>
            </a:extLst>
          </p:cNvPr>
          <p:cNvSpPr>
            <a:spLocks noGrp="1"/>
          </p:cNvSpPr>
          <p:nvPr>
            <p:ph type="sldNum" sz="quarter" idx="4"/>
          </p:nvPr>
        </p:nvSpPr>
        <p:spPr/>
        <p:txBody>
          <a:bodyPr/>
          <a:lstStyle/>
          <a:p>
            <a:fld id="{D32BAE6A-B452-4007-8177-56DD051636F9}" type="slidenum">
              <a:rPr lang="en-GB" noProof="1" smtClean="0"/>
              <a:pPr/>
              <a:t>3</a:t>
            </a:fld>
            <a:endParaRPr lang="en-GB" noProof="1"/>
          </a:p>
        </p:txBody>
      </p:sp>
      <p:sp>
        <p:nvSpPr>
          <p:cNvPr id="15" name="Date Placeholder 14">
            <a:extLst>
              <a:ext uri="{FF2B5EF4-FFF2-40B4-BE49-F238E27FC236}">
                <a16:creationId xmlns:a16="http://schemas.microsoft.com/office/drawing/2014/main" id="{E88760A6-B173-3B3D-9148-D5710B9BAC0F}"/>
              </a:ext>
            </a:extLst>
          </p:cNvPr>
          <p:cNvSpPr>
            <a:spLocks noGrp="1"/>
          </p:cNvSpPr>
          <p:nvPr>
            <p:ph type="dt" sz="half" idx="2"/>
          </p:nvPr>
        </p:nvSpPr>
        <p:spPr/>
        <p:txBody>
          <a:bodyPr/>
          <a:lstStyle/>
          <a:p>
            <a:pPr>
              <a:defRPr/>
            </a:pPr>
            <a:r>
              <a:rPr lang="en-GB" noProof="1"/>
              <a:t>Feb 2024</a:t>
            </a:r>
          </a:p>
        </p:txBody>
      </p:sp>
    </p:spTree>
    <p:extLst>
      <p:ext uri="{BB962C8B-B14F-4D97-AF65-F5344CB8AC3E}">
        <p14:creationId xmlns:p14="http://schemas.microsoft.com/office/powerpoint/2010/main" val="445788236"/>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1D246B6-467B-497B-E90E-082622D5F0B6}"/>
              </a:ext>
            </a:extLst>
          </p:cNvPr>
          <p:cNvGraphicFramePr>
            <a:graphicFrameLocks noChangeAspect="1"/>
          </p:cNvGraphicFramePr>
          <p:nvPr>
            <p:custDataLst>
              <p:tags r:id="rId1"/>
            </p:custDataLst>
            <p:extLst>
              <p:ext uri="{D42A27DB-BD31-4B8C-83A1-F6EECF244321}">
                <p14:modId xmlns:p14="http://schemas.microsoft.com/office/powerpoint/2010/main" val="1946930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91D246B6-467B-497B-E90E-082622D5F0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D86F2BD-3566-C719-67E8-7D7D02F56458}"/>
              </a:ext>
            </a:extLst>
          </p:cNvPr>
          <p:cNvSpPr>
            <a:spLocks noGrp="1"/>
          </p:cNvSpPr>
          <p:nvPr>
            <p:ph type="title"/>
          </p:nvPr>
        </p:nvSpPr>
        <p:spPr>
          <a:xfrm>
            <a:off x="401468" y="18330"/>
            <a:ext cx="11171238" cy="352520"/>
          </a:xfrm>
        </p:spPr>
        <p:txBody>
          <a:bodyPr vert="horz"/>
          <a:lstStyle/>
          <a:p>
            <a:r>
              <a:rPr lang="en-US" dirty="0"/>
              <a:t>RCA – Slow loading at FOT</a:t>
            </a:r>
          </a:p>
        </p:txBody>
      </p:sp>
      <p:sp>
        <p:nvSpPr>
          <p:cNvPr id="3" name="Date Placeholder 2">
            <a:extLst>
              <a:ext uri="{FF2B5EF4-FFF2-40B4-BE49-F238E27FC236}">
                <a16:creationId xmlns:a16="http://schemas.microsoft.com/office/drawing/2014/main" id="{B5433CB7-7FAF-D152-2343-727211A6372F}"/>
              </a:ext>
            </a:extLst>
          </p:cNvPr>
          <p:cNvSpPr>
            <a:spLocks noGrp="1"/>
          </p:cNvSpPr>
          <p:nvPr>
            <p:ph type="dt" sz="half" idx="2"/>
          </p:nvPr>
        </p:nvSpPr>
        <p:spPr/>
        <p:txBody>
          <a:bodyPr/>
          <a:lstStyle/>
          <a:p>
            <a:pPr>
              <a:defRPr/>
            </a:pPr>
            <a:r>
              <a:rPr lang="en-GB" noProof="1"/>
              <a:t>Feb 2024</a:t>
            </a:r>
          </a:p>
        </p:txBody>
      </p:sp>
      <p:graphicFrame>
        <p:nvGraphicFramePr>
          <p:cNvPr id="7" name="Diagram 6">
            <a:extLst>
              <a:ext uri="{FF2B5EF4-FFF2-40B4-BE49-F238E27FC236}">
                <a16:creationId xmlns:a16="http://schemas.microsoft.com/office/drawing/2014/main" id="{2F58D333-8483-9FE0-370F-30C0657F4249}"/>
              </a:ext>
            </a:extLst>
          </p:cNvPr>
          <p:cNvGraphicFramePr/>
          <p:nvPr>
            <p:extLst>
              <p:ext uri="{D42A27DB-BD31-4B8C-83A1-F6EECF244321}">
                <p14:modId xmlns:p14="http://schemas.microsoft.com/office/powerpoint/2010/main" val="218275964"/>
              </p:ext>
            </p:extLst>
          </p:nvPr>
        </p:nvGraphicFramePr>
        <p:xfrm>
          <a:off x="402862" y="531628"/>
          <a:ext cx="11169844" cy="5937571"/>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0" name="Slide Number Placeholder 9">
            <a:extLst>
              <a:ext uri="{FF2B5EF4-FFF2-40B4-BE49-F238E27FC236}">
                <a16:creationId xmlns:a16="http://schemas.microsoft.com/office/drawing/2014/main" id="{09B07FA3-0CCF-8D15-746F-E4DA4DF520FE}"/>
              </a:ext>
            </a:extLst>
          </p:cNvPr>
          <p:cNvSpPr>
            <a:spLocks noGrp="1"/>
          </p:cNvSpPr>
          <p:nvPr>
            <p:ph type="sldNum" sz="quarter" idx="4"/>
          </p:nvPr>
        </p:nvSpPr>
        <p:spPr/>
        <p:txBody>
          <a:bodyPr/>
          <a:lstStyle/>
          <a:p>
            <a:fld id="{D32BAE6A-B452-4007-8177-56DD051636F9}" type="slidenum">
              <a:rPr lang="en-GB" noProof="1" smtClean="0"/>
              <a:pPr/>
              <a:t>4</a:t>
            </a:fld>
            <a:endParaRPr lang="en-GB" noProof="1"/>
          </a:p>
        </p:txBody>
      </p:sp>
      <p:graphicFrame>
        <p:nvGraphicFramePr>
          <p:cNvPr id="12" name="Table 7">
            <a:extLst>
              <a:ext uri="{FF2B5EF4-FFF2-40B4-BE49-F238E27FC236}">
                <a16:creationId xmlns:a16="http://schemas.microsoft.com/office/drawing/2014/main" id="{3C04811E-3CCC-0298-D9D0-01DB67AA1BD3}"/>
              </a:ext>
            </a:extLst>
          </p:cNvPr>
          <p:cNvGraphicFramePr>
            <a:graphicFrameLocks noGrp="1"/>
          </p:cNvGraphicFramePr>
          <p:nvPr>
            <p:extLst>
              <p:ext uri="{D42A27DB-BD31-4B8C-83A1-F6EECF244321}">
                <p14:modId xmlns:p14="http://schemas.microsoft.com/office/powerpoint/2010/main" val="2179894022"/>
              </p:ext>
            </p:extLst>
          </p:nvPr>
        </p:nvGraphicFramePr>
        <p:xfrm>
          <a:off x="11219400" y="33753"/>
          <a:ext cx="929640" cy="975360"/>
        </p:xfrm>
        <a:graphic>
          <a:graphicData uri="http://schemas.openxmlformats.org/drawingml/2006/table">
            <a:tbl>
              <a:tblPr>
                <a:tableStyleId>{5C22544A-7EE6-4342-B048-85BDC9FD1C3A}</a:tableStyleId>
              </a:tblPr>
              <a:tblGrid>
                <a:gridCol w="929640">
                  <a:extLst>
                    <a:ext uri="{9D8B030D-6E8A-4147-A177-3AD203B41FA5}">
                      <a16:colId xmlns:a16="http://schemas.microsoft.com/office/drawing/2014/main" val="248803957"/>
                    </a:ext>
                  </a:extLst>
                </a:gridCol>
              </a:tblGrid>
              <a:tr h="0">
                <a:tc>
                  <a:txBody>
                    <a:bodyPr/>
                    <a:lstStyle/>
                    <a:p>
                      <a:pPr algn="ctr"/>
                      <a:r>
                        <a:rPr lang="en-US" sz="1000" b="1" dirty="0"/>
                        <a:t>LEGEND</a:t>
                      </a:r>
                    </a:p>
                  </a:txBody>
                  <a:tcPr marL="45720" marR="45720">
                    <a:noFill/>
                  </a:tcPr>
                </a:tc>
                <a:extLst>
                  <a:ext uri="{0D108BD9-81ED-4DB2-BD59-A6C34878D82A}">
                    <a16:rowId xmlns:a16="http://schemas.microsoft.com/office/drawing/2014/main" val="4033931021"/>
                  </a:ext>
                </a:extLst>
              </a:tr>
              <a:tr h="0">
                <a:tc>
                  <a:txBody>
                    <a:bodyPr/>
                    <a:lstStyle/>
                    <a:p>
                      <a:pPr algn="ctr"/>
                      <a:r>
                        <a:rPr lang="en-US" sz="1000" b="1" dirty="0"/>
                        <a:t>FOT &amp; BOGT</a:t>
                      </a:r>
                    </a:p>
                  </a:txBody>
                  <a:tcPr marL="45720" marR="45720">
                    <a:solidFill>
                      <a:srgbClr val="FFC600"/>
                    </a:solidFill>
                  </a:tcPr>
                </a:tc>
                <a:extLst>
                  <a:ext uri="{0D108BD9-81ED-4DB2-BD59-A6C34878D82A}">
                    <a16:rowId xmlns:a16="http://schemas.microsoft.com/office/drawing/2014/main" val="4237367162"/>
                  </a:ext>
                </a:extLst>
              </a:tr>
              <a:tr h="0">
                <a:tc>
                  <a:txBody>
                    <a:bodyPr/>
                    <a:lstStyle/>
                    <a:p>
                      <a:pPr algn="ctr"/>
                      <a:r>
                        <a:rPr lang="en-US" sz="1000" b="1" dirty="0">
                          <a:solidFill>
                            <a:srgbClr val="FFFFFF"/>
                          </a:solidFill>
                        </a:rPr>
                        <a:t>BOGT only</a:t>
                      </a:r>
                    </a:p>
                  </a:txBody>
                  <a:tcPr marL="45720" marR="45720">
                    <a:solidFill>
                      <a:srgbClr val="743A1E"/>
                    </a:solidFill>
                  </a:tcPr>
                </a:tc>
                <a:extLst>
                  <a:ext uri="{0D108BD9-81ED-4DB2-BD59-A6C34878D82A}">
                    <a16:rowId xmlns:a16="http://schemas.microsoft.com/office/drawing/2014/main" val="18840880"/>
                  </a:ext>
                </a:extLst>
              </a:tr>
              <a:tr h="0">
                <a:tc>
                  <a:txBody>
                    <a:bodyPr/>
                    <a:lstStyle/>
                    <a:p>
                      <a:pPr algn="ctr"/>
                      <a:r>
                        <a:rPr lang="en-US" sz="1000" b="1" dirty="0">
                          <a:solidFill>
                            <a:srgbClr val="FFFFFF"/>
                          </a:solidFill>
                        </a:rPr>
                        <a:t>FOT only</a:t>
                      </a:r>
                    </a:p>
                  </a:txBody>
                  <a:tcPr marL="45720" marR="45720">
                    <a:solidFill>
                      <a:srgbClr val="336094"/>
                    </a:solidFill>
                  </a:tcPr>
                </a:tc>
                <a:extLst>
                  <a:ext uri="{0D108BD9-81ED-4DB2-BD59-A6C34878D82A}">
                    <a16:rowId xmlns:a16="http://schemas.microsoft.com/office/drawing/2014/main" val="2196756172"/>
                  </a:ext>
                </a:extLst>
              </a:tr>
            </a:tbl>
          </a:graphicData>
        </a:graphic>
      </p:graphicFrame>
    </p:spTree>
    <p:extLst>
      <p:ext uri="{BB962C8B-B14F-4D97-AF65-F5344CB8AC3E}">
        <p14:creationId xmlns:p14="http://schemas.microsoft.com/office/powerpoint/2010/main" val="1033593286"/>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1D246B6-467B-497B-E90E-082622D5F0B6}"/>
              </a:ext>
            </a:extLst>
          </p:cNvPr>
          <p:cNvGraphicFramePr>
            <a:graphicFrameLocks noChangeAspect="1"/>
          </p:cNvGraphicFramePr>
          <p:nvPr>
            <p:custDataLst>
              <p:tags r:id="rId1"/>
            </p:custDataLst>
            <p:extLst>
              <p:ext uri="{D42A27DB-BD31-4B8C-83A1-F6EECF244321}">
                <p14:modId xmlns:p14="http://schemas.microsoft.com/office/powerpoint/2010/main" val="124160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91D246B6-467B-497B-E90E-082622D5F0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D86F2BD-3566-C719-67E8-7D7D02F56458}"/>
              </a:ext>
            </a:extLst>
          </p:cNvPr>
          <p:cNvSpPr>
            <a:spLocks noGrp="1"/>
          </p:cNvSpPr>
          <p:nvPr>
            <p:ph type="title"/>
          </p:nvPr>
        </p:nvSpPr>
        <p:spPr>
          <a:xfrm>
            <a:off x="401468" y="18330"/>
            <a:ext cx="11171238" cy="352520"/>
          </a:xfrm>
        </p:spPr>
        <p:txBody>
          <a:bodyPr vert="horz"/>
          <a:lstStyle/>
          <a:p>
            <a:r>
              <a:rPr lang="en-US" dirty="0"/>
              <a:t>RCA – FOT SBM1 Outage</a:t>
            </a:r>
          </a:p>
        </p:txBody>
      </p:sp>
      <p:sp>
        <p:nvSpPr>
          <p:cNvPr id="3" name="Date Placeholder 2">
            <a:extLst>
              <a:ext uri="{FF2B5EF4-FFF2-40B4-BE49-F238E27FC236}">
                <a16:creationId xmlns:a16="http://schemas.microsoft.com/office/drawing/2014/main" id="{B5433CB7-7FAF-D152-2343-727211A6372F}"/>
              </a:ext>
            </a:extLst>
          </p:cNvPr>
          <p:cNvSpPr>
            <a:spLocks noGrp="1"/>
          </p:cNvSpPr>
          <p:nvPr>
            <p:ph type="dt" sz="half" idx="2"/>
          </p:nvPr>
        </p:nvSpPr>
        <p:spPr/>
        <p:txBody>
          <a:bodyPr/>
          <a:lstStyle/>
          <a:p>
            <a:pPr>
              <a:defRPr/>
            </a:pPr>
            <a:r>
              <a:rPr lang="en-GB" noProof="1"/>
              <a:t>Feb 2024</a:t>
            </a:r>
          </a:p>
        </p:txBody>
      </p:sp>
      <p:graphicFrame>
        <p:nvGraphicFramePr>
          <p:cNvPr id="9" name="Diagram 8">
            <a:extLst>
              <a:ext uri="{FF2B5EF4-FFF2-40B4-BE49-F238E27FC236}">
                <a16:creationId xmlns:a16="http://schemas.microsoft.com/office/drawing/2014/main" id="{D0DECEEE-FFDD-E5A3-8D3A-2BDCDB964519}"/>
              </a:ext>
            </a:extLst>
          </p:cNvPr>
          <p:cNvGraphicFramePr/>
          <p:nvPr>
            <p:extLst>
              <p:ext uri="{D42A27DB-BD31-4B8C-83A1-F6EECF244321}">
                <p14:modId xmlns:p14="http://schemas.microsoft.com/office/powerpoint/2010/main" val="843396321"/>
              </p:ext>
            </p:extLst>
          </p:nvPr>
        </p:nvGraphicFramePr>
        <p:xfrm>
          <a:off x="654009" y="761999"/>
          <a:ext cx="10703801" cy="305923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4" name="Slide Number Placeholder 3">
            <a:extLst>
              <a:ext uri="{FF2B5EF4-FFF2-40B4-BE49-F238E27FC236}">
                <a16:creationId xmlns:a16="http://schemas.microsoft.com/office/drawing/2014/main" id="{E6AF6EBC-381D-5AC8-D788-FCCA1C6F4791}"/>
              </a:ext>
            </a:extLst>
          </p:cNvPr>
          <p:cNvSpPr>
            <a:spLocks noGrp="1"/>
          </p:cNvSpPr>
          <p:nvPr>
            <p:ph type="sldNum" sz="quarter" idx="4"/>
          </p:nvPr>
        </p:nvSpPr>
        <p:spPr/>
        <p:txBody>
          <a:bodyPr/>
          <a:lstStyle/>
          <a:p>
            <a:fld id="{D32BAE6A-B452-4007-8177-56DD051636F9}" type="slidenum">
              <a:rPr lang="en-GB" noProof="1" smtClean="0"/>
              <a:pPr/>
              <a:t>5</a:t>
            </a:fld>
            <a:endParaRPr lang="en-GB" noProof="1"/>
          </a:p>
        </p:txBody>
      </p:sp>
      <p:graphicFrame>
        <p:nvGraphicFramePr>
          <p:cNvPr id="7" name="Table 7">
            <a:extLst>
              <a:ext uri="{FF2B5EF4-FFF2-40B4-BE49-F238E27FC236}">
                <a16:creationId xmlns:a16="http://schemas.microsoft.com/office/drawing/2014/main" id="{3735D6D9-125D-7174-FAF3-1173D419B433}"/>
              </a:ext>
            </a:extLst>
          </p:cNvPr>
          <p:cNvGraphicFramePr>
            <a:graphicFrameLocks noGrp="1"/>
          </p:cNvGraphicFramePr>
          <p:nvPr>
            <p:extLst>
              <p:ext uri="{D42A27DB-BD31-4B8C-83A1-F6EECF244321}">
                <p14:modId xmlns:p14="http://schemas.microsoft.com/office/powerpoint/2010/main" val="2179894022"/>
              </p:ext>
            </p:extLst>
          </p:nvPr>
        </p:nvGraphicFramePr>
        <p:xfrm>
          <a:off x="11219400" y="33753"/>
          <a:ext cx="929640" cy="975360"/>
        </p:xfrm>
        <a:graphic>
          <a:graphicData uri="http://schemas.openxmlformats.org/drawingml/2006/table">
            <a:tbl>
              <a:tblPr>
                <a:tableStyleId>{5C22544A-7EE6-4342-B048-85BDC9FD1C3A}</a:tableStyleId>
              </a:tblPr>
              <a:tblGrid>
                <a:gridCol w="929640">
                  <a:extLst>
                    <a:ext uri="{9D8B030D-6E8A-4147-A177-3AD203B41FA5}">
                      <a16:colId xmlns:a16="http://schemas.microsoft.com/office/drawing/2014/main" val="248803957"/>
                    </a:ext>
                  </a:extLst>
                </a:gridCol>
              </a:tblGrid>
              <a:tr h="0">
                <a:tc>
                  <a:txBody>
                    <a:bodyPr/>
                    <a:lstStyle/>
                    <a:p>
                      <a:pPr algn="ctr"/>
                      <a:r>
                        <a:rPr lang="en-US" sz="1000" b="1" dirty="0"/>
                        <a:t>LEGEND</a:t>
                      </a:r>
                    </a:p>
                  </a:txBody>
                  <a:tcPr marL="45720" marR="45720">
                    <a:noFill/>
                  </a:tcPr>
                </a:tc>
                <a:extLst>
                  <a:ext uri="{0D108BD9-81ED-4DB2-BD59-A6C34878D82A}">
                    <a16:rowId xmlns:a16="http://schemas.microsoft.com/office/drawing/2014/main" val="4033931021"/>
                  </a:ext>
                </a:extLst>
              </a:tr>
              <a:tr h="0">
                <a:tc>
                  <a:txBody>
                    <a:bodyPr/>
                    <a:lstStyle/>
                    <a:p>
                      <a:pPr algn="ctr"/>
                      <a:r>
                        <a:rPr lang="en-US" sz="1000" b="1" dirty="0"/>
                        <a:t>FOT &amp; BOGT</a:t>
                      </a:r>
                    </a:p>
                  </a:txBody>
                  <a:tcPr marL="45720" marR="45720">
                    <a:solidFill>
                      <a:srgbClr val="FFC600"/>
                    </a:solidFill>
                  </a:tcPr>
                </a:tc>
                <a:extLst>
                  <a:ext uri="{0D108BD9-81ED-4DB2-BD59-A6C34878D82A}">
                    <a16:rowId xmlns:a16="http://schemas.microsoft.com/office/drawing/2014/main" val="4237367162"/>
                  </a:ext>
                </a:extLst>
              </a:tr>
              <a:tr h="0">
                <a:tc>
                  <a:txBody>
                    <a:bodyPr/>
                    <a:lstStyle/>
                    <a:p>
                      <a:pPr algn="ctr"/>
                      <a:r>
                        <a:rPr lang="en-US" sz="1000" b="1" dirty="0">
                          <a:solidFill>
                            <a:srgbClr val="FFFFFF"/>
                          </a:solidFill>
                        </a:rPr>
                        <a:t>BOGT only</a:t>
                      </a:r>
                    </a:p>
                  </a:txBody>
                  <a:tcPr marL="45720" marR="45720">
                    <a:solidFill>
                      <a:srgbClr val="743A1E"/>
                    </a:solidFill>
                  </a:tcPr>
                </a:tc>
                <a:extLst>
                  <a:ext uri="{0D108BD9-81ED-4DB2-BD59-A6C34878D82A}">
                    <a16:rowId xmlns:a16="http://schemas.microsoft.com/office/drawing/2014/main" val="18840880"/>
                  </a:ext>
                </a:extLst>
              </a:tr>
              <a:tr h="0">
                <a:tc>
                  <a:txBody>
                    <a:bodyPr/>
                    <a:lstStyle/>
                    <a:p>
                      <a:pPr algn="ctr"/>
                      <a:r>
                        <a:rPr lang="en-US" sz="1000" b="1" dirty="0">
                          <a:solidFill>
                            <a:srgbClr val="FFFFFF"/>
                          </a:solidFill>
                        </a:rPr>
                        <a:t>FOT only</a:t>
                      </a:r>
                    </a:p>
                  </a:txBody>
                  <a:tcPr marL="45720" marR="45720">
                    <a:solidFill>
                      <a:srgbClr val="336094"/>
                    </a:solidFill>
                  </a:tcPr>
                </a:tc>
                <a:extLst>
                  <a:ext uri="{0D108BD9-81ED-4DB2-BD59-A6C34878D82A}">
                    <a16:rowId xmlns:a16="http://schemas.microsoft.com/office/drawing/2014/main" val="2196756172"/>
                  </a:ext>
                </a:extLst>
              </a:tr>
            </a:tbl>
          </a:graphicData>
        </a:graphic>
      </p:graphicFrame>
    </p:spTree>
    <p:extLst>
      <p:ext uri="{BB962C8B-B14F-4D97-AF65-F5344CB8AC3E}">
        <p14:creationId xmlns:p14="http://schemas.microsoft.com/office/powerpoint/2010/main" val="1504849223"/>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1D246B6-467B-497B-E90E-082622D5F0B6}"/>
              </a:ext>
            </a:extLst>
          </p:cNvPr>
          <p:cNvGraphicFramePr>
            <a:graphicFrameLocks noChangeAspect="1"/>
          </p:cNvGraphicFramePr>
          <p:nvPr>
            <p:custDataLst>
              <p:tags r:id="rId1"/>
            </p:custDataLst>
            <p:extLst>
              <p:ext uri="{D42A27DB-BD31-4B8C-83A1-F6EECF244321}">
                <p14:modId xmlns:p14="http://schemas.microsoft.com/office/powerpoint/2010/main" val="2021783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5" name="think-cell data - do not delete" hidden="1">
                        <a:extLst>
                          <a:ext uri="{FF2B5EF4-FFF2-40B4-BE49-F238E27FC236}">
                            <a16:creationId xmlns:a16="http://schemas.microsoft.com/office/drawing/2014/main" id="{91D246B6-467B-497B-E90E-082622D5F0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D86F2BD-3566-C719-67E8-7D7D02F56458}"/>
              </a:ext>
            </a:extLst>
          </p:cNvPr>
          <p:cNvSpPr>
            <a:spLocks noGrp="1"/>
          </p:cNvSpPr>
          <p:nvPr>
            <p:ph type="title"/>
          </p:nvPr>
        </p:nvSpPr>
        <p:spPr>
          <a:xfrm>
            <a:off x="401468" y="-25060"/>
            <a:ext cx="11171238" cy="352520"/>
          </a:xfrm>
        </p:spPr>
        <p:txBody>
          <a:bodyPr vert="horz"/>
          <a:lstStyle/>
          <a:p>
            <a:r>
              <a:rPr lang="en-US" dirty="0"/>
              <a:t>RCA - Awaiting Berthing</a:t>
            </a:r>
          </a:p>
        </p:txBody>
      </p:sp>
      <p:sp>
        <p:nvSpPr>
          <p:cNvPr id="3" name="Date Placeholder 2">
            <a:extLst>
              <a:ext uri="{FF2B5EF4-FFF2-40B4-BE49-F238E27FC236}">
                <a16:creationId xmlns:a16="http://schemas.microsoft.com/office/drawing/2014/main" id="{B5433CB7-7FAF-D152-2343-727211A6372F}"/>
              </a:ext>
            </a:extLst>
          </p:cNvPr>
          <p:cNvSpPr>
            <a:spLocks noGrp="1"/>
          </p:cNvSpPr>
          <p:nvPr>
            <p:ph type="dt" sz="half" idx="2"/>
          </p:nvPr>
        </p:nvSpPr>
        <p:spPr/>
        <p:txBody>
          <a:bodyPr/>
          <a:lstStyle/>
          <a:p>
            <a:pPr>
              <a:defRPr/>
            </a:pPr>
            <a:r>
              <a:rPr lang="en-GB" noProof="1"/>
              <a:t>Feb 2024</a:t>
            </a:r>
          </a:p>
        </p:txBody>
      </p:sp>
      <p:graphicFrame>
        <p:nvGraphicFramePr>
          <p:cNvPr id="4" name="Diagram 3">
            <a:extLst>
              <a:ext uri="{FF2B5EF4-FFF2-40B4-BE49-F238E27FC236}">
                <a16:creationId xmlns:a16="http://schemas.microsoft.com/office/drawing/2014/main" id="{A40B2DAA-F28A-C24E-F507-A3F3491C2708}"/>
              </a:ext>
            </a:extLst>
          </p:cNvPr>
          <p:cNvGraphicFramePr/>
          <p:nvPr>
            <p:extLst>
              <p:ext uri="{D42A27DB-BD31-4B8C-83A1-F6EECF244321}">
                <p14:modId xmlns:p14="http://schemas.microsoft.com/office/powerpoint/2010/main" val="969566318"/>
              </p:ext>
            </p:extLst>
          </p:nvPr>
        </p:nvGraphicFramePr>
        <p:xfrm>
          <a:off x="240631" y="370850"/>
          <a:ext cx="11810197" cy="633595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7" name="Slide Number Placeholder 6">
            <a:extLst>
              <a:ext uri="{FF2B5EF4-FFF2-40B4-BE49-F238E27FC236}">
                <a16:creationId xmlns:a16="http://schemas.microsoft.com/office/drawing/2014/main" id="{CEC0328A-95AA-68AB-8184-A0C9357B6B92}"/>
              </a:ext>
            </a:extLst>
          </p:cNvPr>
          <p:cNvSpPr>
            <a:spLocks noGrp="1"/>
          </p:cNvSpPr>
          <p:nvPr>
            <p:ph type="sldNum" sz="quarter" idx="4"/>
          </p:nvPr>
        </p:nvSpPr>
        <p:spPr/>
        <p:txBody>
          <a:bodyPr/>
          <a:lstStyle/>
          <a:p>
            <a:fld id="{D32BAE6A-B452-4007-8177-56DD051636F9}" type="slidenum">
              <a:rPr lang="en-GB" noProof="1" smtClean="0"/>
              <a:pPr/>
              <a:t>6</a:t>
            </a:fld>
            <a:endParaRPr lang="en-GB" noProof="1"/>
          </a:p>
        </p:txBody>
      </p:sp>
      <p:graphicFrame>
        <p:nvGraphicFramePr>
          <p:cNvPr id="8" name="Table 7">
            <a:extLst>
              <a:ext uri="{FF2B5EF4-FFF2-40B4-BE49-F238E27FC236}">
                <a16:creationId xmlns:a16="http://schemas.microsoft.com/office/drawing/2014/main" id="{63961B22-5DE9-2433-0230-17D50E2531CA}"/>
              </a:ext>
            </a:extLst>
          </p:cNvPr>
          <p:cNvGraphicFramePr>
            <a:graphicFrameLocks noGrp="1"/>
          </p:cNvGraphicFramePr>
          <p:nvPr>
            <p:extLst>
              <p:ext uri="{D42A27DB-BD31-4B8C-83A1-F6EECF244321}">
                <p14:modId xmlns:p14="http://schemas.microsoft.com/office/powerpoint/2010/main" val="370236132"/>
              </p:ext>
            </p:extLst>
          </p:nvPr>
        </p:nvGraphicFramePr>
        <p:xfrm>
          <a:off x="11378791" y="33753"/>
          <a:ext cx="761365" cy="853440"/>
        </p:xfrm>
        <a:graphic>
          <a:graphicData uri="http://schemas.openxmlformats.org/drawingml/2006/table">
            <a:tbl>
              <a:tblPr>
                <a:tableStyleId>{5C22544A-7EE6-4342-B048-85BDC9FD1C3A}</a:tableStyleId>
              </a:tblPr>
              <a:tblGrid>
                <a:gridCol w="761365">
                  <a:extLst>
                    <a:ext uri="{9D8B030D-6E8A-4147-A177-3AD203B41FA5}">
                      <a16:colId xmlns:a16="http://schemas.microsoft.com/office/drawing/2014/main" val="248803957"/>
                    </a:ext>
                  </a:extLst>
                </a:gridCol>
              </a:tblGrid>
              <a:tr h="0">
                <a:tc>
                  <a:txBody>
                    <a:bodyPr/>
                    <a:lstStyle/>
                    <a:p>
                      <a:pPr algn="ctr"/>
                      <a:r>
                        <a:rPr lang="en-US" sz="800" b="1" dirty="0"/>
                        <a:t>LEGEND</a:t>
                      </a:r>
                    </a:p>
                  </a:txBody>
                  <a:tcPr marL="45720" marR="45720">
                    <a:noFill/>
                  </a:tcPr>
                </a:tc>
                <a:extLst>
                  <a:ext uri="{0D108BD9-81ED-4DB2-BD59-A6C34878D82A}">
                    <a16:rowId xmlns:a16="http://schemas.microsoft.com/office/drawing/2014/main" val="4033931021"/>
                  </a:ext>
                </a:extLst>
              </a:tr>
              <a:tr h="0">
                <a:tc>
                  <a:txBody>
                    <a:bodyPr/>
                    <a:lstStyle/>
                    <a:p>
                      <a:pPr algn="ctr"/>
                      <a:r>
                        <a:rPr lang="en-US" sz="800" b="1" dirty="0"/>
                        <a:t>FOT &amp; BOGT</a:t>
                      </a:r>
                    </a:p>
                  </a:txBody>
                  <a:tcPr marL="45720" marR="45720">
                    <a:solidFill>
                      <a:srgbClr val="FFC600"/>
                    </a:solidFill>
                  </a:tcPr>
                </a:tc>
                <a:extLst>
                  <a:ext uri="{0D108BD9-81ED-4DB2-BD59-A6C34878D82A}">
                    <a16:rowId xmlns:a16="http://schemas.microsoft.com/office/drawing/2014/main" val="4237367162"/>
                  </a:ext>
                </a:extLst>
              </a:tr>
              <a:tr h="0">
                <a:tc>
                  <a:txBody>
                    <a:bodyPr/>
                    <a:lstStyle/>
                    <a:p>
                      <a:pPr algn="ctr"/>
                      <a:r>
                        <a:rPr lang="en-US" sz="800" b="1" dirty="0">
                          <a:solidFill>
                            <a:srgbClr val="FFFFFF"/>
                          </a:solidFill>
                        </a:rPr>
                        <a:t>BOGT only</a:t>
                      </a:r>
                    </a:p>
                  </a:txBody>
                  <a:tcPr marL="45720" marR="45720">
                    <a:solidFill>
                      <a:srgbClr val="743A1E"/>
                    </a:solidFill>
                  </a:tcPr>
                </a:tc>
                <a:extLst>
                  <a:ext uri="{0D108BD9-81ED-4DB2-BD59-A6C34878D82A}">
                    <a16:rowId xmlns:a16="http://schemas.microsoft.com/office/drawing/2014/main" val="18840880"/>
                  </a:ext>
                </a:extLst>
              </a:tr>
              <a:tr h="0">
                <a:tc>
                  <a:txBody>
                    <a:bodyPr/>
                    <a:lstStyle/>
                    <a:p>
                      <a:pPr algn="ctr"/>
                      <a:r>
                        <a:rPr lang="en-US" sz="800" b="1" dirty="0">
                          <a:solidFill>
                            <a:srgbClr val="FFFFFF"/>
                          </a:solidFill>
                        </a:rPr>
                        <a:t>FOT only</a:t>
                      </a:r>
                    </a:p>
                  </a:txBody>
                  <a:tcPr marL="45720" marR="45720">
                    <a:solidFill>
                      <a:srgbClr val="336094"/>
                    </a:solidFill>
                  </a:tcPr>
                </a:tc>
                <a:extLst>
                  <a:ext uri="{0D108BD9-81ED-4DB2-BD59-A6C34878D82A}">
                    <a16:rowId xmlns:a16="http://schemas.microsoft.com/office/drawing/2014/main" val="2196756172"/>
                  </a:ext>
                </a:extLst>
              </a:tr>
            </a:tbl>
          </a:graphicData>
        </a:graphic>
      </p:graphicFrame>
    </p:spTree>
    <p:extLst>
      <p:ext uri="{BB962C8B-B14F-4D97-AF65-F5344CB8AC3E}">
        <p14:creationId xmlns:p14="http://schemas.microsoft.com/office/powerpoint/2010/main" val="262899205"/>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1D246B6-467B-497B-E90E-082622D5F0B6}"/>
              </a:ext>
            </a:extLst>
          </p:cNvPr>
          <p:cNvGraphicFramePr>
            <a:graphicFrameLocks noChangeAspect="1"/>
          </p:cNvGraphicFramePr>
          <p:nvPr>
            <p:custDataLst>
              <p:tags r:id="rId1"/>
            </p:custDataLst>
            <p:extLst>
              <p:ext uri="{D42A27DB-BD31-4B8C-83A1-F6EECF244321}">
                <p14:modId xmlns:p14="http://schemas.microsoft.com/office/powerpoint/2010/main" val="2495645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5" name="think-cell data - do not delete" hidden="1">
                        <a:extLst>
                          <a:ext uri="{FF2B5EF4-FFF2-40B4-BE49-F238E27FC236}">
                            <a16:creationId xmlns:a16="http://schemas.microsoft.com/office/drawing/2014/main" id="{91D246B6-467B-497B-E90E-082622D5F0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D86F2BD-3566-C719-67E8-7D7D02F56458}"/>
              </a:ext>
            </a:extLst>
          </p:cNvPr>
          <p:cNvSpPr>
            <a:spLocks noGrp="1"/>
          </p:cNvSpPr>
          <p:nvPr>
            <p:ph type="title"/>
          </p:nvPr>
        </p:nvSpPr>
        <p:spPr>
          <a:xfrm>
            <a:off x="401468" y="18330"/>
            <a:ext cx="11171238" cy="352520"/>
          </a:xfrm>
        </p:spPr>
        <p:txBody>
          <a:bodyPr vert="horz"/>
          <a:lstStyle/>
          <a:p>
            <a:r>
              <a:rPr lang="en-US" dirty="0"/>
              <a:t>RCA - Awaiting cargo</a:t>
            </a:r>
          </a:p>
        </p:txBody>
      </p:sp>
      <p:sp>
        <p:nvSpPr>
          <p:cNvPr id="3" name="Date Placeholder 2">
            <a:extLst>
              <a:ext uri="{FF2B5EF4-FFF2-40B4-BE49-F238E27FC236}">
                <a16:creationId xmlns:a16="http://schemas.microsoft.com/office/drawing/2014/main" id="{B5433CB7-7FAF-D152-2343-727211A6372F}"/>
              </a:ext>
            </a:extLst>
          </p:cNvPr>
          <p:cNvSpPr>
            <a:spLocks noGrp="1"/>
          </p:cNvSpPr>
          <p:nvPr>
            <p:ph type="dt" sz="half" idx="2"/>
          </p:nvPr>
        </p:nvSpPr>
        <p:spPr/>
        <p:txBody>
          <a:bodyPr/>
          <a:lstStyle/>
          <a:p>
            <a:pPr>
              <a:defRPr/>
            </a:pPr>
            <a:r>
              <a:rPr lang="en-GB" noProof="1"/>
              <a:t>Feb 2024</a:t>
            </a:r>
          </a:p>
        </p:txBody>
      </p:sp>
      <p:graphicFrame>
        <p:nvGraphicFramePr>
          <p:cNvPr id="4" name="Diagram 3">
            <a:extLst>
              <a:ext uri="{FF2B5EF4-FFF2-40B4-BE49-F238E27FC236}">
                <a16:creationId xmlns:a16="http://schemas.microsoft.com/office/drawing/2014/main" id="{A40B2DAA-F28A-C24E-F507-A3F3491C2708}"/>
              </a:ext>
            </a:extLst>
          </p:cNvPr>
          <p:cNvGraphicFramePr/>
          <p:nvPr>
            <p:extLst>
              <p:ext uri="{D42A27DB-BD31-4B8C-83A1-F6EECF244321}">
                <p14:modId xmlns:p14="http://schemas.microsoft.com/office/powerpoint/2010/main" val="2887456595"/>
              </p:ext>
            </p:extLst>
          </p:nvPr>
        </p:nvGraphicFramePr>
        <p:xfrm>
          <a:off x="240631" y="370850"/>
          <a:ext cx="11332075" cy="633595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 name="Slide Number Placeholder 5">
            <a:extLst>
              <a:ext uri="{FF2B5EF4-FFF2-40B4-BE49-F238E27FC236}">
                <a16:creationId xmlns:a16="http://schemas.microsoft.com/office/drawing/2014/main" id="{EFC0A9AF-C8C8-9017-BC2C-AAEE32FF1C6A}"/>
              </a:ext>
            </a:extLst>
          </p:cNvPr>
          <p:cNvSpPr>
            <a:spLocks noGrp="1"/>
          </p:cNvSpPr>
          <p:nvPr>
            <p:ph type="sldNum" sz="quarter" idx="4"/>
          </p:nvPr>
        </p:nvSpPr>
        <p:spPr/>
        <p:txBody>
          <a:bodyPr/>
          <a:lstStyle/>
          <a:p>
            <a:fld id="{D32BAE6A-B452-4007-8177-56DD051636F9}" type="slidenum">
              <a:rPr lang="en-GB" noProof="1" smtClean="0"/>
              <a:pPr/>
              <a:t>7</a:t>
            </a:fld>
            <a:endParaRPr lang="en-GB" noProof="1"/>
          </a:p>
        </p:txBody>
      </p:sp>
      <p:graphicFrame>
        <p:nvGraphicFramePr>
          <p:cNvPr id="7" name="Table 7">
            <a:extLst>
              <a:ext uri="{FF2B5EF4-FFF2-40B4-BE49-F238E27FC236}">
                <a16:creationId xmlns:a16="http://schemas.microsoft.com/office/drawing/2014/main" id="{214CAB49-9958-2F8C-8505-720DFFF4DFC0}"/>
              </a:ext>
            </a:extLst>
          </p:cNvPr>
          <p:cNvGraphicFramePr>
            <a:graphicFrameLocks noGrp="1"/>
          </p:cNvGraphicFramePr>
          <p:nvPr>
            <p:extLst>
              <p:ext uri="{D42A27DB-BD31-4B8C-83A1-F6EECF244321}">
                <p14:modId xmlns:p14="http://schemas.microsoft.com/office/powerpoint/2010/main" val="3507416806"/>
              </p:ext>
            </p:extLst>
          </p:nvPr>
        </p:nvGraphicFramePr>
        <p:xfrm>
          <a:off x="11219400" y="33753"/>
          <a:ext cx="929640" cy="975360"/>
        </p:xfrm>
        <a:graphic>
          <a:graphicData uri="http://schemas.openxmlformats.org/drawingml/2006/table">
            <a:tbl>
              <a:tblPr>
                <a:tableStyleId>{5C22544A-7EE6-4342-B048-85BDC9FD1C3A}</a:tableStyleId>
              </a:tblPr>
              <a:tblGrid>
                <a:gridCol w="929640">
                  <a:extLst>
                    <a:ext uri="{9D8B030D-6E8A-4147-A177-3AD203B41FA5}">
                      <a16:colId xmlns:a16="http://schemas.microsoft.com/office/drawing/2014/main" val="248803957"/>
                    </a:ext>
                  </a:extLst>
                </a:gridCol>
              </a:tblGrid>
              <a:tr h="0">
                <a:tc>
                  <a:txBody>
                    <a:bodyPr/>
                    <a:lstStyle/>
                    <a:p>
                      <a:pPr algn="ctr"/>
                      <a:r>
                        <a:rPr lang="en-US" sz="1000" b="1" dirty="0"/>
                        <a:t>LEGEND</a:t>
                      </a:r>
                    </a:p>
                  </a:txBody>
                  <a:tcPr marL="45720" marR="45720">
                    <a:noFill/>
                  </a:tcPr>
                </a:tc>
                <a:extLst>
                  <a:ext uri="{0D108BD9-81ED-4DB2-BD59-A6C34878D82A}">
                    <a16:rowId xmlns:a16="http://schemas.microsoft.com/office/drawing/2014/main" val="4033931021"/>
                  </a:ext>
                </a:extLst>
              </a:tr>
              <a:tr h="0">
                <a:tc>
                  <a:txBody>
                    <a:bodyPr/>
                    <a:lstStyle/>
                    <a:p>
                      <a:pPr algn="ctr"/>
                      <a:r>
                        <a:rPr lang="en-US" sz="1000" b="1" dirty="0"/>
                        <a:t>FOT &amp; BOGT</a:t>
                      </a:r>
                    </a:p>
                  </a:txBody>
                  <a:tcPr marL="45720" marR="45720">
                    <a:solidFill>
                      <a:srgbClr val="FFC600"/>
                    </a:solidFill>
                  </a:tcPr>
                </a:tc>
                <a:extLst>
                  <a:ext uri="{0D108BD9-81ED-4DB2-BD59-A6C34878D82A}">
                    <a16:rowId xmlns:a16="http://schemas.microsoft.com/office/drawing/2014/main" val="4237367162"/>
                  </a:ext>
                </a:extLst>
              </a:tr>
              <a:tr h="0">
                <a:tc>
                  <a:txBody>
                    <a:bodyPr/>
                    <a:lstStyle/>
                    <a:p>
                      <a:pPr algn="ctr"/>
                      <a:r>
                        <a:rPr lang="en-US" sz="1000" b="1" dirty="0">
                          <a:solidFill>
                            <a:srgbClr val="FFFFFF"/>
                          </a:solidFill>
                        </a:rPr>
                        <a:t>BOGT only</a:t>
                      </a:r>
                    </a:p>
                  </a:txBody>
                  <a:tcPr marL="45720" marR="45720">
                    <a:solidFill>
                      <a:srgbClr val="743A1E"/>
                    </a:solidFill>
                  </a:tcPr>
                </a:tc>
                <a:extLst>
                  <a:ext uri="{0D108BD9-81ED-4DB2-BD59-A6C34878D82A}">
                    <a16:rowId xmlns:a16="http://schemas.microsoft.com/office/drawing/2014/main" val="18840880"/>
                  </a:ext>
                </a:extLst>
              </a:tr>
              <a:tr h="0">
                <a:tc>
                  <a:txBody>
                    <a:bodyPr/>
                    <a:lstStyle/>
                    <a:p>
                      <a:pPr algn="ctr"/>
                      <a:r>
                        <a:rPr lang="en-US" sz="1000" b="1" dirty="0">
                          <a:solidFill>
                            <a:srgbClr val="FFFFFF"/>
                          </a:solidFill>
                        </a:rPr>
                        <a:t>FOT only</a:t>
                      </a:r>
                    </a:p>
                  </a:txBody>
                  <a:tcPr marL="45720" marR="45720">
                    <a:solidFill>
                      <a:srgbClr val="336094"/>
                    </a:solidFill>
                  </a:tcPr>
                </a:tc>
                <a:extLst>
                  <a:ext uri="{0D108BD9-81ED-4DB2-BD59-A6C34878D82A}">
                    <a16:rowId xmlns:a16="http://schemas.microsoft.com/office/drawing/2014/main" val="2196756172"/>
                  </a:ext>
                </a:extLst>
              </a:tr>
            </a:tbl>
          </a:graphicData>
        </a:graphic>
      </p:graphicFrame>
    </p:spTree>
    <p:extLst>
      <p:ext uri="{BB962C8B-B14F-4D97-AF65-F5344CB8AC3E}">
        <p14:creationId xmlns:p14="http://schemas.microsoft.com/office/powerpoint/2010/main" val="4244598031"/>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7D8833B-F68D-70AB-120C-FA58DD6CD5A1}"/>
              </a:ext>
            </a:extLst>
          </p:cNvPr>
          <p:cNvGraphicFramePr>
            <a:graphicFrameLocks noChangeAspect="1"/>
          </p:cNvGraphicFramePr>
          <p:nvPr>
            <p:custDataLst>
              <p:tags r:id="rId1"/>
            </p:custDataLst>
            <p:extLst>
              <p:ext uri="{D42A27DB-BD31-4B8C-83A1-F6EECF244321}">
                <p14:modId xmlns:p14="http://schemas.microsoft.com/office/powerpoint/2010/main" val="2779237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12" name="think-cell data - do not delete" hidden="1">
                        <a:extLst>
                          <a:ext uri="{FF2B5EF4-FFF2-40B4-BE49-F238E27FC236}">
                            <a16:creationId xmlns:a16="http://schemas.microsoft.com/office/drawing/2014/main" id="{37D8833B-F68D-70AB-120C-FA58DD6CD5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3" name="Content Placeholder 12">
            <a:extLst>
              <a:ext uri="{FF2B5EF4-FFF2-40B4-BE49-F238E27FC236}">
                <a16:creationId xmlns:a16="http://schemas.microsoft.com/office/drawing/2014/main" id="{15B94F6E-F95E-7E39-7B7A-49367E3F9299}"/>
              </a:ext>
            </a:extLst>
          </p:cNvPr>
          <p:cNvGraphicFramePr>
            <a:graphicFrameLocks noGrp="1"/>
          </p:cNvGraphicFramePr>
          <p:nvPr>
            <p:ph sz="quarter" idx="13"/>
            <p:extLst>
              <p:ext uri="{D42A27DB-BD31-4B8C-83A1-F6EECF244321}">
                <p14:modId xmlns:p14="http://schemas.microsoft.com/office/powerpoint/2010/main" val="2998764342"/>
              </p:ext>
            </p:extLst>
          </p:nvPr>
        </p:nvGraphicFramePr>
        <p:xfrm>
          <a:off x="6429676" y="1053384"/>
          <a:ext cx="5474819" cy="5076040"/>
        </p:xfrm>
        <a:graphic>
          <a:graphicData uri="http://schemas.openxmlformats.org/drawingml/2006/table">
            <a:tbl>
              <a:tblPr>
                <a:tableStyleId>{5C22544A-7EE6-4342-B048-85BDC9FD1C3A}</a:tableStyleId>
              </a:tblPr>
              <a:tblGrid>
                <a:gridCol w="356135">
                  <a:extLst>
                    <a:ext uri="{9D8B030D-6E8A-4147-A177-3AD203B41FA5}">
                      <a16:colId xmlns:a16="http://schemas.microsoft.com/office/drawing/2014/main" val="3037169750"/>
                    </a:ext>
                  </a:extLst>
                </a:gridCol>
                <a:gridCol w="5118684">
                  <a:extLst>
                    <a:ext uri="{9D8B030D-6E8A-4147-A177-3AD203B41FA5}">
                      <a16:colId xmlns:a16="http://schemas.microsoft.com/office/drawing/2014/main" val="788986464"/>
                    </a:ext>
                  </a:extLst>
                </a:gridCol>
              </a:tblGrid>
              <a:tr h="310041">
                <a:tc>
                  <a:txBody>
                    <a:bodyPr/>
                    <a:lstStyle/>
                    <a:p>
                      <a:pPr algn="l" fontAlgn="t">
                        <a:lnSpc>
                          <a:spcPct val="150000"/>
                        </a:lnSpc>
                      </a:pPr>
                      <a:r>
                        <a:rPr lang="en-US" sz="1600" u="none" strike="noStrike">
                          <a:effectLst/>
                        </a:rPr>
                        <a:t>1</a:t>
                      </a:r>
                      <a:endParaRPr lang="en-US" sz="1600" b="0" i="0" u="none" strike="noStrike">
                        <a:solidFill>
                          <a:srgbClr val="000000"/>
                        </a:solidFill>
                        <a:effectLst/>
                        <a:latin typeface="Calibri" panose="020F0502020204030204" pitchFamily="34" charset="0"/>
                      </a:endParaRPr>
                    </a:p>
                  </a:txBody>
                  <a:tcPr marL="5855" marR="5855" marT="5855" marB="0"/>
                </a:tc>
                <a:tc>
                  <a:txBody>
                    <a:bodyPr/>
                    <a:lstStyle/>
                    <a:p>
                      <a:pPr algn="l" fontAlgn="t">
                        <a:lnSpc>
                          <a:spcPct val="150000"/>
                        </a:lnSpc>
                      </a:pPr>
                      <a:r>
                        <a:rPr lang="en-US" sz="1600" u="none" strike="noStrike">
                          <a:effectLst/>
                        </a:rPr>
                        <a:t>Improve Capability of vessel crew.</a:t>
                      </a:r>
                      <a:endParaRPr lang="en-US" sz="1600" b="0" i="0" u="none" strike="noStrike">
                        <a:solidFill>
                          <a:srgbClr val="000000"/>
                        </a:solidFill>
                        <a:effectLst/>
                        <a:latin typeface="Calibri" panose="020F0502020204030204" pitchFamily="34" charset="0"/>
                      </a:endParaRPr>
                    </a:p>
                  </a:txBody>
                  <a:tcPr marL="5855" marR="5855" marT="5855" marB="0"/>
                </a:tc>
                <a:extLst>
                  <a:ext uri="{0D108BD9-81ED-4DB2-BD59-A6C34878D82A}">
                    <a16:rowId xmlns:a16="http://schemas.microsoft.com/office/drawing/2014/main" val="2419411970"/>
                  </a:ext>
                </a:extLst>
              </a:tr>
              <a:tr h="612812">
                <a:tc>
                  <a:txBody>
                    <a:bodyPr/>
                    <a:lstStyle/>
                    <a:p>
                      <a:pPr algn="l" fontAlgn="t">
                        <a:lnSpc>
                          <a:spcPct val="150000"/>
                        </a:lnSpc>
                      </a:pPr>
                      <a:r>
                        <a:rPr lang="en-US" sz="1600" u="none" strike="noStrike">
                          <a:effectLst/>
                        </a:rPr>
                        <a:t>2</a:t>
                      </a:r>
                      <a:endParaRPr lang="en-US" sz="1600" b="0" i="0" u="none" strike="noStrike">
                        <a:solidFill>
                          <a:srgbClr val="000000"/>
                        </a:solidFill>
                        <a:effectLst/>
                        <a:latin typeface="Calibri" panose="020F0502020204030204" pitchFamily="34" charset="0"/>
                      </a:endParaRPr>
                    </a:p>
                  </a:txBody>
                  <a:tcPr marL="5855" marR="5855" marT="5855" marB="0"/>
                </a:tc>
                <a:tc>
                  <a:txBody>
                    <a:bodyPr/>
                    <a:lstStyle/>
                    <a:p>
                      <a:pPr algn="l" fontAlgn="t">
                        <a:lnSpc>
                          <a:spcPct val="150000"/>
                        </a:lnSpc>
                      </a:pPr>
                      <a:r>
                        <a:rPr lang="en-US" sz="1600" u="none" strike="noStrike" dirty="0">
                          <a:effectLst/>
                        </a:rPr>
                        <a:t>Provide another PC to support Terminals – steady state or call-off contract options for contingency/redundancy</a:t>
                      </a:r>
                      <a:endParaRPr lang="en-US" sz="1600" b="0" i="0" u="none" strike="noStrike" dirty="0">
                        <a:solidFill>
                          <a:srgbClr val="000000"/>
                        </a:solidFill>
                        <a:effectLst/>
                        <a:latin typeface="Calibri" panose="020F0502020204030204" pitchFamily="34" charset="0"/>
                      </a:endParaRPr>
                    </a:p>
                  </a:txBody>
                  <a:tcPr marL="5855" marR="5855" marT="5855" marB="0"/>
                </a:tc>
                <a:extLst>
                  <a:ext uri="{0D108BD9-81ED-4DB2-BD59-A6C34878D82A}">
                    <a16:rowId xmlns:a16="http://schemas.microsoft.com/office/drawing/2014/main" val="3849642749"/>
                  </a:ext>
                </a:extLst>
              </a:tr>
              <a:tr h="1445432">
                <a:tc>
                  <a:txBody>
                    <a:bodyPr/>
                    <a:lstStyle/>
                    <a:p>
                      <a:pPr algn="l" fontAlgn="t">
                        <a:lnSpc>
                          <a:spcPct val="150000"/>
                        </a:lnSpc>
                      </a:pPr>
                      <a:r>
                        <a:rPr lang="en-US" sz="1600" u="none" strike="noStrike">
                          <a:effectLst/>
                        </a:rPr>
                        <a:t>3</a:t>
                      </a:r>
                      <a:endParaRPr lang="en-US" sz="1600" b="0" i="0" u="none" strike="noStrike">
                        <a:solidFill>
                          <a:srgbClr val="000000"/>
                        </a:solidFill>
                        <a:effectLst/>
                        <a:latin typeface="Calibri" panose="020F0502020204030204" pitchFamily="34" charset="0"/>
                      </a:endParaRPr>
                    </a:p>
                  </a:txBody>
                  <a:tcPr marL="5855" marR="5855" marT="5855" marB="0"/>
                </a:tc>
                <a:tc>
                  <a:txBody>
                    <a:bodyPr/>
                    <a:lstStyle/>
                    <a:p>
                      <a:pPr marL="0" indent="0" algn="l" fontAlgn="t">
                        <a:lnSpc>
                          <a:spcPct val="150000"/>
                        </a:lnSpc>
                        <a:buFont typeface="Arial" panose="020B0604020202020204" pitchFamily="34" charset="0"/>
                        <a:buNone/>
                      </a:pPr>
                      <a:r>
                        <a:rPr lang="en-US" sz="1600" u="none" strike="noStrike" dirty="0">
                          <a:effectLst/>
                        </a:rPr>
                        <a:t>Review night sailing policy.</a:t>
                      </a:r>
                      <a:br>
                        <a:rPr lang="en-US" sz="1600" u="none" strike="noStrike" dirty="0">
                          <a:effectLst/>
                        </a:rPr>
                      </a:br>
                      <a:r>
                        <a:rPr lang="en-US" sz="1200" u="none" strike="noStrike" dirty="0">
                          <a:solidFill>
                            <a:srgbClr val="336094"/>
                          </a:solidFill>
                          <a:effectLst/>
                        </a:rPr>
                        <a:t>Make adequate security arrangements for vessel convoy.</a:t>
                      </a:r>
                      <a:br>
                        <a:rPr lang="en-US" sz="1200" u="none" strike="noStrike" dirty="0">
                          <a:solidFill>
                            <a:srgbClr val="336094"/>
                          </a:solidFill>
                          <a:effectLst/>
                        </a:rPr>
                      </a:br>
                      <a:r>
                        <a:rPr lang="en-US" sz="1200" u="none" strike="noStrike" dirty="0">
                          <a:solidFill>
                            <a:srgbClr val="336094"/>
                          </a:solidFill>
                          <a:effectLst/>
                        </a:rPr>
                        <a:t>Provide another PC to support terminal ops.</a:t>
                      </a:r>
                      <a:br>
                        <a:rPr lang="en-US" sz="1200" u="none" strike="noStrike" dirty="0">
                          <a:solidFill>
                            <a:srgbClr val="336094"/>
                          </a:solidFill>
                          <a:effectLst/>
                        </a:rPr>
                      </a:br>
                      <a:r>
                        <a:rPr lang="en-US" sz="1200" u="none" strike="noStrike" dirty="0">
                          <a:solidFill>
                            <a:srgbClr val="336094"/>
                          </a:solidFill>
                          <a:effectLst/>
                        </a:rPr>
                        <a:t>FOT - 'Lit' the river channel -Provide buoys to illuminate the channel.</a:t>
                      </a:r>
                      <a:br>
                        <a:rPr lang="en-US" sz="1200" u="none" strike="noStrike" dirty="0">
                          <a:solidFill>
                            <a:srgbClr val="336094"/>
                          </a:solidFill>
                          <a:effectLst/>
                        </a:rPr>
                      </a:br>
                      <a:r>
                        <a:rPr lang="en-US" sz="1200" u="none" strike="noStrike" dirty="0">
                          <a:solidFill>
                            <a:srgbClr val="336094"/>
                          </a:solidFill>
                          <a:effectLst/>
                        </a:rPr>
                        <a:t>FOT - Remove ship-wreck and mark-up navigational charts.</a:t>
                      </a:r>
                      <a:br>
                        <a:rPr lang="en-US" sz="1200" u="none" strike="noStrike" dirty="0">
                          <a:solidFill>
                            <a:srgbClr val="336094"/>
                          </a:solidFill>
                          <a:effectLst/>
                        </a:rPr>
                      </a:br>
                      <a:r>
                        <a:rPr lang="en-US" sz="1200" u="none" strike="noStrike" dirty="0">
                          <a:solidFill>
                            <a:srgbClr val="336094"/>
                          </a:solidFill>
                          <a:effectLst/>
                        </a:rPr>
                        <a:t>BOGT - Make arrangements for GOs to reside in BOGT.</a:t>
                      </a:r>
                      <a:endParaRPr lang="en-US" sz="1600" b="0" i="0" u="none" strike="noStrike" dirty="0">
                        <a:solidFill>
                          <a:srgbClr val="336094"/>
                        </a:solidFill>
                        <a:effectLst/>
                        <a:latin typeface="Calibri" panose="020F0502020204030204" pitchFamily="34" charset="0"/>
                      </a:endParaRPr>
                    </a:p>
                  </a:txBody>
                  <a:tcPr marL="5855" marR="5855" marT="5855" marB="0"/>
                </a:tc>
                <a:extLst>
                  <a:ext uri="{0D108BD9-81ED-4DB2-BD59-A6C34878D82A}">
                    <a16:rowId xmlns:a16="http://schemas.microsoft.com/office/drawing/2014/main" val="1926989127"/>
                  </a:ext>
                </a:extLst>
              </a:tr>
              <a:tr h="310041">
                <a:tc>
                  <a:txBody>
                    <a:bodyPr/>
                    <a:lstStyle/>
                    <a:p>
                      <a:pPr algn="l" fontAlgn="t">
                        <a:lnSpc>
                          <a:spcPct val="150000"/>
                        </a:lnSpc>
                      </a:pPr>
                      <a:r>
                        <a:rPr lang="en-US" sz="1600" u="none" strike="noStrike">
                          <a:effectLst/>
                        </a:rPr>
                        <a:t>4</a:t>
                      </a:r>
                      <a:endParaRPr lang="en-US" sz="1600" b="0" i="0" u="none" strike="noStrike">
                        <a:solidFill>
                          <a:srgbClr val="000000"/>
                        </a:solidFill>
                        <a:effectLst/>
                        <a:latin typeface="Calibri" panose="020F0502020204030204" pitchFamily="34" charset="0"/>
                      </a:endParaRPr>
                    </a:p>
                  </a:txBody>
                  <a:tcPr marL="5855" marR="5855" marT="5855" marB="0"/>
                </a:tc>
                <a:tc>
                  <a:txBody>
                    <a:bodyPr/>
                    <a:lstStyle/>
                    <a:p>
                      <a:pPr algn="l" fontAlgn="t">
                        <a:lnSpc>
                          <a:spcPct val="150000"/>
                        </a:lnSpc>
                      </a:pPr>
                      <a:r>
                        <a:rPr lang="en-US" sz="1600" u="none" strike="noStrike" dirty="0">
                          <a:effectLst/>
                        </a:rPr>
                        <a:t>Transfer claims to the upstream 3P producers.</a:t>
                      </a:r>
                      <a:endParaRPr lang="en-US" sz="1600" b="0" i="0" u="none" strike="noStrike" dirty="0">
                        <a:solidFill>
                          <a:srgbClr val="000000"/>
                        </a:solidFill>
                        <a:effectLst/>
                        <a:latin typeface="Calibri" panose="020F0502020204030204" pitchFamily="34" charset="0"/>
                      </a:endParaRPr>
                    </a:p>
                  </a:txBody>
                  <a:tcPr marL="5855" marR="5855" marT="5855" marB="0"/>
                </a:tc>
                <a:extLst>
                  <a:ext uri="{0D108BD9-81ED-4DB2-BD59-A6C34878D82A}">
                    <a16:rowId xmlns:a16="http://schemas.microsoft.com/office/drawing/2014/main" val="301609325"/>
                  </a:ext>
                </a:extLst>
              </a:tr>
              <a:tr h="310041">
                <a:tc>
                  <a:txBody>
                    <a:bodyPr/>
                    <a:lstStyle/>
                    <a:p>
                      <a:pPr algn="l" fontAlgn="t">
                        <a:lnSpc>
                          <a:spcPct val="150000"/>
                        </a:lnSpc>
                      </a:pPr>
                      <a:r>
                        <a:rPr lang="en-US" sz="1600" u="none" strike="noStrike">
                          <a:effectLst/>
                        </a:rPr>
                        <a:t>5</a:t>
                      </a:r>
                      <a:endParaRPr lang="en-US" sz="1600" b="0" i="0" u="none" strike="noStrike">
                        <a:solidFill>
                          <a:srgbClr val="000000"/>
                        </a:solidFill>
                        <a:effectLst/>
                        <a:latin typeface="Calibri" panose="020F0502020204030204" pitchFamily="34" charset="0"/>
                      </a:endParaRPr>
                    </a:p>
                  </a:txBody>
                  <a:tcPr marL="5855" marR="5855" marT="5855" marB="0"/>
                </a:tc>
                <a:tc>
                  <a:txBody>
                    <a:bodyPr/>
                    <a:lstStyle/>
                    <a:p>
                      <a:pPr algn="l" fontAlgn="t">
                        <a:lnSpc>
                          <a:spcPct val="150000"/>
                        </a:lnSpc>
                      </a:pPr>
                      <a:r>
                        <a:rPr lang="en-US" sz="1600" u="none" strike="noStrike" dirty="0">
                          <a:effectLst/>
                        </a:rPr>
                        <a:t>Enforce the emulsion content specification for receipt.</a:t>
                      </a:r>
                      <a:endParaRPr lang="en-US" sz="1600" b="0" i="0" u="none" strike="noStrike" dirty="0">
                        <a:solidFill>
                          <a:srgbClr val="000000"/>
                        </a:solidFill>
                        <a:effectLst/>
                        <a:latin typeface="Calibri" panose="020F0502020204030204" pitchFamily="34" charset="0"/>
                      </a:endParaRPr>
                    </a:p>
                  </a:txBody>
                  <a:tcPr marL="5855" marR="5855" marT="5855" marB="0"/>
                </a:tc>
                <a:extLst>
                  <a:ext uri="{0D108BD9-81ED-4DB2-BD59-A6C34878D82A}">
                    <a16:rowId xmlns:a16="http://schemas.microsoft.com/office/drawing/2014/main" val="2050918407"/>
                  </a:ext>
                </a:extLst>
              </a:tr>
              <a:tr h="310041">
                <a:tc>
                  <a:txBody>
                    <a:bodyPr/>
                    <a:lstStyle/>
                    <a:p>
                      <a:pPr algn="l" fontAlgn="t">
                        <a:lnSpc>
                          <a:spcPct val="150000"/>
                        </a:lnSpc>
                      </a:pPr>
                      <a:r>
                        <a:rPr lang="en-US" sz="1600" u="none" strike="noStrike">
                          <a:effectLst/>
                        </a:rPr>
                        <a:t>6</a:t>
                      </a:r>
                      <a:endParaRPr lang="en-US" sz="1600" b="0" i="0" u="none" strike="noStrike">
                        <a:solidFill>
                          <a:srgbClr val="000000"/>
                        </a:solidFill>
                        <a:effectLst/>
                        <a:latin typeface="Calibri" panose="020F0502020204030204" pitchFamily="34" charset="0"/>
                      </a:endParaRPr>
                    </a:p>
                  </a:txBody>
                  <a:tcPr marL="5855" marR="5855" marT="5855" marB="0"/>
                </a:tc>
                <a:tc>
                  <a:txBody>
                    <a:bodyPr/>
                    <a:lstStyle/>
                    <a:p>
                      <a:pPr algn="l" fontAlgn="t">
                        <a:lnSpc>
                          <a:spcPct val="150000"/>
                        </a:lnSpc>
                      </a:pPr>
                      <a:r>
                        <a:rPr lang="en-US" sz="1600" u="none" strike="noStrike" dirty="0">
                          <a:effectLst/>
                        </a:rPr>
                        <a:t>Chemical treatment at source to reduce salt content.</a:t>
                      </a:r>
                      <a:endParaRPr lang="en-US" sz="1600" b="0" i="0" u="none" strike="noStrike" dirty="0">
                        <a:solidFill>
                          <a:srgbClr val="000000"/>
                        </a:solidFill>
                        <a:effectLst/>
                        <a:latin typeface="Calibri" panose="020F0502020204030204" pitchFamily="34" charset="0"/>
                      </a:endParaRPr>
                    </a:p>
                  </a:txBody>
                  <a:tcPr marL="5855" marR="5855" marT="5855" marB="0"/>
                </a:tc>
                <a:extLst>
                  <a:ext uri="{0D108BD9-81ED-4DB2-BD59-A6C34878D82A}">
                    <a16:rowId xmlns:a16="http://schemas.microsoft.com/office/drawing/2014/main" val="172835138"/>
                  </a:ext>
                </a:extLst>
              </a:tr>
              <a:tr h="310041">
                <a:tc>
                  <a:txBody>
                    <a:bodyPr/>
                    <a:lstStyle/>
                    <a:p>
                      <a:pPr algn="l" fontAlgn="t">
                        <a:lnSpc>
                          <a:spcPct val="150000"/>
                        </a:lnSpc>
                      </a:pPr>
                      <a:r>
                        <a:rPr lang="en-US" sz="1600" u="none" strike="noStrike">
                          <a:effectLst/>
                        </a:rPr>
                        <a:t>7</a:t>
                      </a:r>
                      <a:endParaRPr lang="en-US" sz="1600" b="0" i="0" u="none" strike="noStrike">
                        <a:solidFill>
                          <a:srgbClr val="000000"/>
                        </a:solidFill>
                        <a:effectLst/>
                        <a:latin typeface="Calibri" panose="020F0502020204030204" pitchFamily="34" charset="0"/>
                      </a:endParaRPr>
                    </a:p>
                  </a:txBody>
                  <a:tcPr marL="5855" marR="5855" marT="5855" marB="0"/>
                </a:tc>
                <a:tc>
                  <a:txBody>
                    <a:bodyPr/>
                    <a:lstStyle/>
                    <a:p>
                      <a:pPr algn="l" fontAlgn="t">
                        <a:lnSpc>
                          <a:spcPct val="150000"/>
                        </a:lnSpc>
                      </a:pPr>
                      <a:r>
                        <a:rPr lang="en-US" sz="1600" u="none" strike="noStrike" dirty="0">
                          <a:effectLst/>
                        </a:rPr>
                        <a:t>Remove accumulation of debris in elbow section.</a:t>
                      </a:r>
                      <a:endParaRPr lang="en-US" sz="1600" b="0" i="0" u="none" strike="noStrike" dirty="0">
                        <a:solidFill>
                          <a:srgbClr val="000000"/>
                        </a:solidFill>
                        <a:effectLst/>
                        <a:latin typeface="Calibri" panose="020F0502020204030204" pitchFamily="34" charset="0"/>
                      </a:endParaRPr>
                    </a:p>
                  </a:txBody>
                  <a:tcPr marL="5855" marR="5855" marT="5855" marB="0"/>
                </a:tc>
                <a:extLst>
                  <a:ext uri="{0D108BD9-81ED-4DB2-BD59-A6C34878D82A}">
                    <a16:rowId xmlns:a16="http://schemas.microsoft.com/office/drawing/2014/main" val="1386075077"/>
                  </a:ext>
                </a:extLst>
              </a:tr>
              <a:tr h="612812">
                <a:tc>
                  <a:txBody>
                    <a:bodyPr/>
                    <a:lstStyle/>
                    <a:p>
                      <a:pPr algn="l" fontAlgn="t">
                        <a:lnSpc>
                          <a:spcPct val="150000"/>
                        </a:lnSpc>
                      </a:pPr>
                      <a:r>
                        <a:rPr lang="en-US" sz="1600" u="none" strike="noStrike">
                          <a:effectLst/>
                        </a:rPr>
                        <a:t>8</a:t>
                      </a:r>
                      <a:endParaRPr lang="en-US" sz="1600" b="0" i="0" u="none" strike="noStrike">
                        <a:solidFill>
                          <a:srgbClr val="000000"/>
                        </a:solidFill>
                        <a:effectLst/>
                        <a:latin typeface="Calibri" panose="020F0502020204030204" pitchFamily="34" charset="0"/>
                      </a:endParaRPr>
                    </a:p>
                  </a:txBody>
                  <a:tcPr marL="5855" marR="5855" marT="5855" marB="0"/>
                </a:tc>
                <a:tc>
                  <a:txBody>
                    <a:bodyPr/>
                    <a:lstStyle/>
                    <a:p>
                      <a:pPr algn="l" fontAlgn="t">
                        <a:lnSpc>
                          <a:spcPct val="150000"/>
                        </a:lnSpc>
                      </a:pPr>
                      <a:r>
                        <a:rPr lang="en-US" sz="1600" u="none" strike="noStrike" dirty="0">
                          <a:effectLst/>
                        </a:rPr>
                        <a:t>Realign maintenance schedule for all SBMs to OEM recommended intervals.</a:t>
                      </a:r>
                      <a:endParaRPr lang="en-US" sz="1600" b="0" i="0" u="none" strike="noStrike" dirty="0">
                        <a:solidFill>
                          <a:srgbClr val="000000"/>
                        </a:solidFill>
                        <a:effectLst/>
                        <a:latin typeface="Calibri" panose="020F0502020204030204" pitchFamily="34" charset="0"/>
                      </a:endParaRPr>
                    </a:p>
                  </a:txBody>
                  <a:tcPr marL="5855" marR="5855" marT="5855" marB="0"/>
                </a:tc>
                <a:extLst>
                  <a:ext uri="{0D108BD9-81ED-4DB2-BD59-A6C34878D82A}">
                    <a16:rowId xmlns:a16="http://schemas.microsoft.com/office/drawing/2014/main" val="1184134310"/>
                  </a:ext>
                </a:extLst>
              </a:tr>
            </a:tbl>
          </a:graphicData>
        </a:graphic>
      </p:graphicFrame>
      <p:sp>
        <p:nvSpPr>
          <p:cNvPr id="10" name="Text Placeholder 9">
            <a:extLst>
              <a:ext uri="{FF2B5EF4-FFF2-40B4-BE49-F238E27FC236}">
                <a16:creationId xmlns:a16="http://schemas.microsoft.com/office/drawing/2014/main" id="{9B0EE1AE-9751-55EF-9108-356C5B324E19}"/>
              </a:ext>
            </a:extLst>
          </p:cNvPr>
          <p:cNvSpPr>
            <a:spLocks noGrp="1"/>
          </p:cNvSpPr>
          <p:nvPr>
            <p:ph type="body" sz="quarter" idx="11"/>
          </p:nvPr>
        </p:nvSpPr>
        <p:spPr>
          <a:xfrm>
            <a:off x="365760" y="666277"/>
            <a:ext cx="5611177" cy="344377"/>
          </a:xfrm>
          <a:solidFill>
            <a:srgbClr val="C5000D"/>
          </a:solidFill>
        </p:spPr>
        <p:txBody>
          <a:bodyPr/>
          <a:lstStyle/>
          <a:p>
            <a:r>
              <a:rPr lang="en-US" sz="1600" b="1" dirty="0">
                <a:solidFill>
                  <a:schemeClr val="bg1"/>
                </a:solidFill>
              </a:rPr>
              <a:t>SOLUTIONS IN FLIGHT</a:t>
            </a:r>
          </a:p>
        </p:txBody>
      </p:sp>
      <p:sp>
        <p:nvSpPr>
          <p:cNvPr id="3" name="Date Placeholder 2">
            <a:extLst>
              <a:ext uri="{FF2B5EF4-FFF2-40B4-BE49-F238E27FC236}">
                <a16:creationId xmlns:a16="http://schemas.microsoft.com/office/drawing/2014/main" id="{DDF23063-2830-87D6-91C7-862C993B1BBC}"/>
              </a:ext>
            </a:extLst>
          </p:cNvPr>
          <p:cNvSpPr>
            <a:spLocks noGrp="1"/>
          </p:cNvSpPr>
          <p:nvPr>
            <p:ph type="dt" sz="half" idx="2"/>
          </p:nvPr>
        </p:nvSpPr>
        <p:spPr/>
        <p:txBody>
          <a:bodyPr/>
          <a:lstStyle/>
          <a:p>
            <a:pPr>
              <a:defRPr/>
            </a:pPr>
            <a:r>
              <a:rPr lang="en-GB" noProof="1"/>
              <a:t>Feb 2024</a:t>
            </a:r>
          </a:p>
        </p:txBody>
      </p:sp>
      <p:graphicFrame>
        <p:nvGraphicFramePr>
          <p:cNvPr id="14" name="Table 13">
            <a:extLst>
              <a:ext uri="{FF2B5EF4-FFF2-40B4-BE49-F238E27FC236}">
                <a16:creationId xmlns:a16="http://schemas.microsoft.com/office/drawing/2014/main" id="{6BFA3BCF-199B-F9FB-6215-4B568AEB997E}"/>
              </a:ext>
            </a:extLst>
          </p:cNvPr>
          <p:cNvGraphicFramePr>
            <a:graphicFrameLocks noGrp="1"/>
          </p:cNvGraphicFramePr>
          <p:nvPr>
            <p:extLst>
              <p:ext uri="{D42A27DB-BD31-4B8C-83A1-F6EECF244321}">
                <p14:modId xmlns:p14="http://schemas.microsoft.com/office/powerpoint/2010/main" val="1332344352"/>
              </p:ext>
            </p:extLst>
          </p:nvPr>
        </p:nvGraphicFramePr>
        <p:xfrm>
          <a:off x="365760" y="1053384"/>
          <a:ext cx="5611177" cy="4622800"/>
        </p:xfrm>
        <a:graphic>
          <a:graphicData uri="http://schemas.openxmlformats.org/drawingml/2006/table">
            <a:tbl>
              <a:tblPr>
                <a:tableStyleId>{5C22544A-7EE6-4342-B048-85BDC9FD1C3A}</a:tableStyleId>
              </a:tblPr>
              <a:tblGrid>
                <a:gridCol w="209973">
                  <a:extLst>
                    <a:ext uri="{9D8B030D-6E8A-4147-A177-3AD203B41FA5}">
                      <a16:colId xmlns:a16="http://schemas.microsoft.com/office/drawing/2014/main" val="3542848771"/>
                    </a:ext>
                  </a:extLst>
                </a:gridCol>
                <a:gridCol w="5401204">
                  <a:extLst>
                    <a:ext uri="{9D8B030D-6E8A-4147-A177-3AD203B41FA5}">
                      <a16:colId xmlns:a16="http://schemas.microsoft.com/office/drawing/2014/main" val="2346240644"/>
                    </a:ext>
                  </a:extLst>
                </a:gridCol>
              </a:tblGrid>
              <a:tr h="115188">
                <a:tc>
                  <a:txBody>
                    <a:bodyPr/>
                    <a:lstStyle/>
                    <a:p>
                      <a:pPr algn="l" fontAlgn="t">
                        <a:lnSpc>
                          <a:spcPct val="150000"/>
                        </a:lnSpc>
                      </a:pPr>
                      <a:r>
                        <a:rPr lang="en-US" sz="1600" u="none" strike="noStrike">
                          <a:effectLst/>
                        </a:rPr>
                        <a:t>1</a:t>
                      </a:r>
                      <a:endParaRPr lang="en-US" sz="1600" b="0" i="0" u="none" strike="noStrike">
                        <a:solidFill>
                          <a:srgbClr val="000000"/>
                        </a:solidFill>
                        <a:effectLst/>
                        <a:latin typeface="Calibri" panose="020F0502020204030204" pitchFamily="34" charset="0"/>
                      </a:endParaRPr>
                    </a:p>
                  </a:txBody>
                  <a:tcPr marL="6350" marR="6350" marT="6350" marB="0"/>
                </a:tc>
                <a:tc>
                  <a:txBody>
                    <a:bodyPr/>
                    <a:lstStyle/>
                    <a:p>
                      <a:pPr algn="l" fontAlgn="t">
                        <a:lnSpc>
                          <a:spcPct val="150000"/>
                        </a:lnSpc>
                      </a:pPr>
                      <a:r>
                        <a:rPr lang="en-US" sz="1600" u="none" strike="noStrike" dirty="0">
                          <a:effectLst/>
                        </a:rPr>
                        <a:t>Timely maintenance of installed FSBM1, BSBM1.</a:t>
                      </a:r>
                      <a:endParaRPr lang="en-US" sz="1600" b="0" i="0" u="none" strike="noStrike" dirty="0">
                        <a:solidFill>
                          <a:srgbClr val="000000"/>
                        </a:solidFill>
                        <a:effectLst/>
                        <a:latin typeface="Calibri" panose="020F0502020204030204" pitchFamily="34" charset="0"/>
                      </a:endParaRPr>
                    </a:p>
                  </a:txBody>
                  <a:tcPr marL="6350" marR="6350" marT="6350" marB="0"/>
                </a:tc>
                <a:extLst>
                  <a:ext uri="{0D108BD9-81ED-4DB2-BD59-A6C34878D82A}">
                    <a16:rowId xmlns:a16="http://schemas.microsoft.com/office/drawing/2014/main" val="1245423476"/>
                  </a:ext>
                </a:extLst>
              </a:tr>
              <a:tr h="115188">
                <a:tc>
                  <a:txBody>
                    <a:bodyPr/>
                    <a:lstStyle/>
                    <a:p>
                      <a:pPr algn="l" fontAlgn="t">
                        <a:lnSpc>
                          <a:spcPct val="150000"/>
                        </a:lnSpc>
                      </a:pPr>
                      <a:r>
                        <a:rPr lang="en-US" sz="1600" u="none" strike="noStrike">
                          <a:effectLst/>
                        </a:rPr>
                        <a:t>2</a:t>
                      </a:r>
                      <a:endParaRPr lang="en-US" sz="1600" b="0" i="0" u="none" strike="noStrike">
                        <a:solidFill>
                          <a:srgbClr val="000000"/>
                        </a:solidFill>
                        <a:effectLst/>
                        <a:latin typeface="Calibri" panose="020F0502020204030204" pitchFamily="34" charset="0"/>
                      </a:endParaRPr>
                    </a:p>
                  </a:txBody>
                  <a:tcPr marL="6350" marR="6350" marT="6350" marB="0"/>
                </a:tc>
                <a:tc>
                  <a:txBody>
                    <a:bodyPr/>
                    <a:lstStyle/>
                    <a:p>
                      <a:pPr algn="l" fontAlgn="t">
                        <a:lnSpc>
                          <a:spcPct val="150000"/>
                        </a:lnSpc>
                      </a:pPr>
                      <a:r>
                        <a:rPr lang="en-US" sz="1600" u="none" strike="noStrike" dirty="0">
                          <a:effectLst/>
                        </a:rPr>
                        <a:t>Execute BSPM2 change-out as scheduled. LEC 16-Apr-2024</a:t>
                      </a:r>
                      <a:endParaRPr lang="en-US" sz="1600" b="0" i="0" u="none" strike="noStrike" dirty="0">
                        <a:solidFill>
                          <a:srgbClr val="000000"/>
                        </a:solidFill>
                        <a:effectLst/>
                        <a:latin typeface="Calibri" panose="020F0502020204030204" pitchFamily="34" charset="0"/>
                      </a:endParaRPr>
                    </a:p>
                  </a:txBody>
                  <a:tcPr marL="6350" marR="6350" marT="6350" marB="0"/>
                </a:tc>
                <a:extLst>
                  <a:ext uri="{0D108BD9-81ED-4DB2-BD59-A6C34878D82A}">
                    <a16:rowId xmlns:a16="http://schemas.microsoft.com/office/drawing/2014/main" val="597961441"/>
                  </a:ext>
                </a:extLst>
              </a:tr>
              <a:tr h="115188">
                <a:tc>
                  <a:txBody>
                    <a:bodyPr/>
                    <a:lstStyle/>
                    <a:p>
                      <a:pPr algn="l" fontAlgn="t">
                        <a:lnSpc>
                          <a:spcPct val="150000"/>
                        </a:lnSpc>
                      </a:pPr>
                      <a:r>
                        <a:rPr lang="en-US" sz="1600" u="none" strike="noStrike">
                          <a:effectLst/>
                        </a:rPr>
                        <a:t>3</a:t>
                      </a:r>
                      <a:endParaRPr lang="en-US" sz="1600" b="0" i="0" u="none" strike="noStrike">
                        <a:solidFill>
                          <a:srgbClr val="000000"/>
                        </a:solidFill>
                        <a:effectLst/>
                        <a:latin typeface="Calibri" panose="020F0502020204030204" pitchFamily="34" charset="0"/>
                      </a:endParaRPr>
                    </a:p>
                  </a:txBody>
                  <a:tcPr marL="6350" marR="6350" marT="6350" marB="0"/>
                </a:tc>
                <a:tc>
                  <a:txBody>
                    <a:bodyPr/>
                    <a:lstStyle/>
                    <a:p>
                      <a:pPr algn="l" fontAlgn="t">
                        <a:lnSpc>
                          <a:spcPct val="150000"/>
                        </a:lnSpc>
                      </a:pPr>
                      <a:r>
                        <a:rPr lang="en-US" sz="1600" u="none" strike="noStrike" dirty="0">
                          <a:effectLst/>
                        </a:rPr>
                        <a:t>Replace TCMS with new FSBM2.</a:t>
                      </a:r>
                      <a:endParaRPr lang="en-US" sz="1600" b="0" i="0" u="none" strike="noStrike" dirty="0">
                        <a:solidFill>
                          <a:srgbClr val="000000"/>
                        </a:solidFill>
                        <a:effectLst/>
                        <a:latin typeface="Calibri" panose="020F0502020204030204" pitchFamily="34" charset="0"/>
                      </a:endParaRPr>
                    </a:p>
                  </a:txBody>
                  <a:tcPr marL="6350" marR="6350" marT="6350" marB="0"/>
                </a:tc>
                <a:extLst>
                  <a:ext uri="{0D108BD9-81ED-4DB2-BD59-A6C34878D82A}">
                    <a16:rowId xmlns:a16="http://schemas.microsoft.com/office/drawing/2014/main" val="2333563526"/>
                  </a:ext>
                </a:extLst>
              </a:tr>
              <a:tr h="283585">
                <a:tc>
                  <a:txBody>
                    <a:bodyPr/>
                    <a:lstStyle/>
                    <a:p>
                      <a:pPr algn="l" fontAlgn="t">
                        <a:lnSpc>
                          <a:spcPct val="150000"/>
                        </a:lnSpc>
                      </a:pPr>
                      <a:r>
                        <a:rPr lang="en-US" sz="1600" u="none" strike="noStrike">
                          <a:effectLst/>
                        </a:rPr>
                        <a:t>4</a:t>
                      </a:r>
                      <a:endParaRPr lang="en-US" sz="1600" b="0" i="0" u="none" strike="noStrike">
                        <a:solidFill>
                          <a:srgbClr val="000000"/>
                        </a:solidFill>
                        <a:effectLst/>
                        <a:latin typeface="Calibri" panose="020F0502020204030204" pitchFamily="34" charset="0"/>
                      </a:endParaRPr>
                    </a:p>
                  </a:txBody>
                  <a:tcPr marL="6350" marR="6350" marT="6350" marB="0"/>
                </a:tc>
                <a:tc>
                  <a:txBody>
                    <a:bodyPr/>
                    <a:lstStyle/>
                    <a:p>
                      <a:pPr algn="l" fontAlgn="t">
                        <a:lnSpc>
                          <a:spcPct val="150000"/>
                        </a:lnSpc>
                      </a:pPr>
                      <a:r>
                        <a:rPr lang="en-US" sz="1600" u="none" strike="noStrike" dirty="0">
                          <a:effectLst/>
                        </a:rPr>
                        <a:t>Timely maintenance of floating hoses and subsea hoses.</a:t>
                      </a:r>
                      <a:br>
                        <a:rPr lang="en-US" sz="1600" u="none" strike="noStrike" dirty="0">
                          <a:effectLst/>
                        </a:rPr>
                      </a:br>
                      <a:r>
                        <a:rPr lang="en-US" sz="1200" i="0" u="none" strike="noStrike" dirty="0">
                          <a:solidFill>
                            <a:srgbClr val="336094"/>
                          </a:solidFill>
                          <a:effectLst/>
                        </a:rPr>
                        <a:t>Readiness check with Underwater </a:t>
                      </a:r>
                      <a:r>
                        <a:rPr lang="en-US" sz="1200" i="0" u="none" strike="noStrike" dirty="0" err="1">
                          <a:solidFill>
                            <a:srgbClr val="336094"/>
                          </a:solidFill>
                          <a:effectLst/>
                        </a:rPr>
                        <a:t>Mtce</a:t>
                      </a:r>
                      <a:r>
                        <a:rPr lang="en-US" sz="1200" i="0" u="none" strike="noStrike" dirty="0">
                          <a:solidFill>
                            <a:srgbClr val="336094"/>
                          </a:solidFill>
                          <a:effectLst/>
                        </a:rPr>
                        <a:t> - Check availability of materials required for activities.</a:t>
                      </a:r>
                      <a:endParaRPr lang="en-US" sz="1600" b="0" i="0" u="none" strike="noStrike" dirty="0">
                        <a:solidFill>
                          <a:srgbClr val="336094"/>
                        </a:solidFill>
                        <a:effectLst/>
                        <a:latin typeface="Calibri" panose="020F0502020204030204" pitchFamily="34" charset="0"/>
                      </a:endParaRPr>
                    </a:p>
                  </a:txBody>
                  <a:tcPr marL="6350" marR="6350" marT="6350" marB="0"/>
                </a:tc>
                <a:extLst>
                  <a:ext uri="{0D108BD9-81ED-4DB2-BD59-A6C34878D82A}">
                    <a16:rowId xmlns:a16="http://schemas.microsoft.com/office/drawing/2014/main" val="721300784"/>
                  </a:ext>
                </a:extLst>
              </a:tr>
              <a:tr h="227453">
                <a:tc>
                  <a:txBody>
                    <a:bodyPr/>
                    <a:lstStyle/>
                    <a:p>
                      <a:pPr algn="l" fontAlgn="t">
                        <a:lnSpc>
                          <a:spcPct val="150000"/>
                        </a:lnSpc>
                      </a:pPr>
                      <a:r>
                        <a:rPr lang="en-US" sz="1600" u="none" strike="noStrike">
                          <a:effectLst/>
                        </a:rPr>
                        <a:t>5</a:t>
                      </a:r>
                      <a:endParaRPr lang="en-US" sz="1600" b="0" i="0" u="none" strike="noStrike">
                        <a:solidFill>
                          <a:srgbClr val="000000"/>
                        </a:solidFill>
                        <a:effectLst/>
                        <a:latin typeface="Calibri" panose="020F0502020204030204" pitchFamily="34" charset="0"/>
                      </a:endParaRPr>
                    </a:p>
                  </a:txBody>
                  <a:tcPr marL="6350" marR="6350" marT="6350" marB="0"/>
                </a:tc>
                <a:tc>
                  <a:txBody>
                    <a:bodyPr/>
                    <a:lstStyle/>
                    <a:p>
                      <a:pPr algn="l" fontAlgn="t">
                        <a:lnSpc>
                          <a:spcPct val="150000"/>
                        </a:lnSpc>
                      </a:pPr>
                      <a:r>
                        <a:rPr lang="en-US" sz="1600" u="none" strike="noStrike" dirty="0">
                          <a:effectLst/>
                        </a:rPr>
                        <a:t>Procure new electric motor and overhaul Export Pump P-403.</a:t>
                      </a:r>
                      <a:endParaRPr lang="en-US" sz="1600" b="0" i="0" u="none" strike="noStrike" dirty="0">
                        <a:solidFill>
                          <a:srgbClr val="000000"/>
                        </a:solidFill>
                        <a:effectLst/>
                        <a:latin typeface="Calibri" panose="020F0502020204030204" pitchFamily="34" charset="0"/>
                      </a:endParaRPr>
                    </a:p>
                  </a:txBody>
                  <a:tcPr marL="6350" marR="6350" marT="6350" marB="0"/>
                </a:tc>
                <a:extLst>
                  <a:ext uri="{0D108BD9-81ED-4DB2-BD59-A6C34878D82A}">
                    <a16:rowId xmlns:a16="http://schemas.microsoft.com/office/drawing/2014/main" val="1626416046"/>
                  </a:ext>
                </a:extLst>
              </a:tr>
              <a:tr h="115188">
                <a:tc>
                  <a:txBody>
                    <a:bodyPr/>
                    <a:lstStyle/>
                    <a:p>
                      <a:pPr algn="l" fontAlgn="t">
                        <a:lnSpc>
                          <a:spcPct val="150000"/>
                        </a:lnSpc>
                      </a:pPr>
                      <a:r>
                        <a:rPr lang="en-US" sz="1600" u="none" strike="noStrike">
                          <a:effectLst/>
                        </a:rPr>
                        <a:t>6</a:t>
                      </a:r>
                      <a:endParaRPr lang="en-US" sz="1600" b="0" i="0" u="none" strike="noStrike">
                        <a:solidFill>
                          <a:srgbClr val="000000"/>
                        </a:solidFill>
                        <a:effectLst/>
                        <a:latin typeface="Calibri" panose="020F0502020204030204" pitchFamily="34" charset="0"/>
                      </a:endParaRPr>
                    </a:p>
                  </a:txBody>
                  <a:tcPr marL="6350" marR="6350" marT="6350" marB="0"/>
                </a:tc>
                <a:tc>
                  <a:txBody>
                    <a:bodyPr/>
                    <a:lstStyle/>
                    <a:p>
                      <a:pPr algn="l" fontAlgn="t">
                        <a:lnSpc>
                          <a:spcPct val="150000"/>
                        </a:lnSpc>
                      </a:pPr>
                      <a:r>
                        <a:rPr lang="en-US" sz="1600" u="none" strike="noStrike" dirty="0">
                          <a:effectLst/>
                        </a:rPr>
                        <a:t>Pipeline security improvement.</a:t>
                      </a:r>
                      <a:endParaRPr lang="en-US" sz="1600" b="0" i="0" u="none" strike="noStrike" dirty="0">
                        <a:solidFill>
                          <a:srgbClr val="000000"/>
                        </a:solidFill>
                        <a:effectLst/>
                        <a:latin typeface="Calibri" panose="020F0502020204030204" pitchFamily="34" charset="0"/>
                      </a:endParaRPr>
                    </a:p>
                  </a:txBody>
                  <a:tcPr marL="6350" marR="6350" marT="6350" marB="0"/>
                </a:tc>
                <a:extLst>
                  <a:ext uri="{0D108BD9-81ED-4DB2-BD59-A6C34878D82A}">
                    <a16:rowId xmlns:a16="http://schemas.microsoft.com/office/drawing/2014/main" val="3526389193"/>
                  </a:ext>
                </a:extLst>
              </a:tr>
              <a:tr h="227453">
                <a:tc>
                  <a:txBody>
                    <a:bodyPr/>
                    <a:lstStyle/>
                    <a:p>
                      <a:pPr algn="l" fontAlgn="t">
                        <a:lnSpc>
                          <a:spcPct val="150000"/>
                        </a:lnSpc>
                      </a:pPr>
                      <a:r>
                        <a:rPr lang="en-US" sz="1600" u="none" strike="noStrike">
                          <a:effectLst/>
                        </a:rPr>
                        <a:t>7</a:t>
                      </a:r>
                      <a:endParaRPr lang="en-US" sz="1600" b="0" i="0" u="none" strike="noStrike">
                        <a:solidFill>
                          <a:srgbClr val="000000"/>
                        </a:solidFill>
                        <a:effectLst/>
                        <a:latin typeface="Calibri" panose="020F0502020204030204" pitchFamily="34" charset="0"/>
                      </a:endParaRPr>
                    </a:p>
                  </a:txBody>
                  <a:tcPr marL="6350" marR="6350" marT="6350" marB="0"/>
                </a:tc>
                <a:tc>
                  <a:txBody>
                    <a:bodyPr/>
                    <a:lstStyle/>
                    <a:p>
                      <a:pPr algn="l" fontAlgn="t">
                        <a:lnSpc>
                          <a:spcPct val="150000"/>
                        </a:lnSpc>
                      </a:pPr>
                      <a:r>
                        <a:rPr lang="en-US" sz="1600" u="none" strike="noStrike" dirty="0">
                          <a:effectLst/>
                        </a:rPr>
                        <a:t>Accelerate FOT Floating roof crude storage tanks rehab program.</a:t>
                      </a:r>
                      <a:endParaRPr lang="en-US" sz="1600" b="0" i="0" u="none" strike="noStrike" dirty="0">
                        <a:solidFill>
                          <a:srgbClr val="000000"/>
                        </a:solidFill>
                        <a:effectLst/>
                        <a:latin typeface="Calibri" panose="020F0502020204030204" pitchFamily="34" charset="0"/>
                      </a:endParaRPr>
                    </a:p>
                  </a:txBody>
                  <a:tcPr marL="6350" marR="6350" marT="6350" marB="0"/>
                </a:tc>
                <a:extLst>
                  <a:ext uri="{0D108BD9-81ED-4DB2-BD59-A6C34878D82A}">
                    <a16:rowId xmlns:a16="http://schemas.microsoft.com/office/drawing/2014/main" val="2598533570"/>
                  </a:ext>
                </a:extLst>
              </a:tr>
              <a:tr h="115188">
                <a:tc>
                  <a:txBody>
                    <a:bodyPr/>
                    <a:lstStyle/>
                    <a:p>
                      <a:pPr algn="l" fontAlgn="t">
                        <a:lnSpc>
                          <a:spcPct val="150000"/>
                        </a:lnSpc>
                      </a:pPr>
                      <a:r>
                        <a:rPr lang="en-US" sz="1600" u="none" strike="noStrike">
                          <a:effectLst/>
                        </a:rPr>
                        <a:t>8</a:t>
                      </a:r>
                      <a:endParaRPr lang="en-US" sz="1600" b="0" i="0" u="none" strike="noStrike">
                        <a:solidFill>
                          <a:srgbClr val="000000"/>
                        </a:solidFill>
                        <a:effectLst/>
                        <a:latin typeface="Calibri" panose="020F0502020204030204" pitchFamily="34" charset="0"/>
                      </a:endParaRPr>
                    </a:p>
                  </a:txBody>
                  <a:tcPr marL="6350" marR="6350" marT="6350" marB="0"/>
                </a:tc>
                <a:tc>
                  <a:txBody>
                    <a:bodyPr/>
                    <a:lstStyle/>
                    <a:p>
                      <a:pPr algn="l" fontAlgn="t">
                        <a:lnSpc>
                          <a:spcPct val="150000"/>
                        </a:lnSpc>
                      </a:pPr>
                      <a:r>
                        <a:rPr lang="en-US" sz="1600" u="none" strike="noStrike" dirty="0">
                          <a:effectLst/>
                        </a:rPr>
                        <a:t>Restore FOT Emulsion treatment system.</a:t>
                      </a:r>
                      <a:endParaRPr lang="en-US" sz="1600" b="0" i="0" u="none" strike="noStrike" dirty="0">
                        <a:solidFill>
                          <a:srgbClr val="000000"/>
                        </a:solidFill>
                        <a:effectLst/>
                        <a:latin typeface="Calibri" panose="020F0502020204030204" pitchFamily="34" charset="0"/>
                      </a:endParaRPr>
                    </a:p>
                  </a:txBody>
                  <a:tcPr marL="6350" marR="6350" marT="6350" marB="0"/>
                </a:tc>
                <a:extLst>
                  <a:ext uri="{0D108BD9-81ED-4DB2-BD59-A6C34878D82A}">
                    <a16:rowId xmlns:a16="http://schemas.microsoft.com/office/drawing/2014/main" val="3704093514"/>
                  </a:ext>
                </a:extLst>
              </a:tr>
            </a:tbl>
          </a:graphicData>
        </a:graphic>
      </p:graphicFrame>
      <p:sp>
        <p:nvSpPr>
          <p:cNvPr id="15" name="Text Placeholder 9">
            <a:extLst>
              <a:ext uri="{FF2B5EF4-FFF2-40B4-BE49-F238E27FC236}">
                <a16:creationId xmlns:a16="http://schemas.microsoft.com/office/drawing/2014/main" id="{70114D98-9C2C-EAD1-51B0-E2B873607ECF}"/>
              </a:ext>
            </a:extLst>
          </p:cNvPr>
          <p:cNvSpPr txBox="1">
            <a:spLocks/>
          </p:cNvSpPr>
          <p:nvPr/>
        </p:nvSpPr>
        <p:spPr bwMode="auto">
          <a:xfrm>
            <a:off x="6429678" y="686056"/>
            <a:ext cx="5474818" cy="344377"/>
          </a:xfrm>
          <a:prstGeom prst="rect">
            <a:avLst/>
          </a:prstGeom>
          <a:solidFill>
            <a:srgbClr val="C5000D"/>
          </a:solidFill>
          <a:ln w="9525" algn="ctr">
            <a:noFill/>
            <a:miter lim="800000"/>
            <a:headEnd/>
            <a:tailEnd/>
          </a:ln>
        </p:spPr>
        <p:txBody>
          <a:bodyPr vert="horz" wrap="square" lIns="0" tIns="0" rIns="0" bIns="0" numCol="1" anchor="t" anchorCtr="0" compatLnSpc="1">
            <a:prstTxWarp prst="textNoShape">
              <a:avLst/>
            </a:prstTxWarp>
          </a:bodyPr>
          <a:lst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400" kern="1200" baseline="0">
                <a:solidFill>
                  <a:schemeClr val="tx1"/>
                </a:solidFill>
                <a:latin typeface="+mn-lt"/>
                <a:ea typeface="+mn-ea"/>
                <a:cs typeface="+mn-cs"/>
              </a:defRPr>
            </a:lvl1pPr>
            <a:lvl2pPr marL="176400" indent="-176400" algn="l" defTabSz="357708" rtl="0" eaLnBrk="1" latinLnBrk="0" hangingPunct="1">
              <a:lnSpc>
                <a:spcPct val="140000"/>
              </a:lnSpc>
              <a:spcBef>
                <a:spcPts val="0"/>
              </a:spcBef>
              <a:spcAft>
                <a:spcPts val="0"/>
              </a:spcAft>
              <a:buClr>
                <a:schemeClr val="accent2"/>
              </a:buClr>
              <a:buSzPct val="75000"/>
              <a:buFont typeface="Wingdings" panose="05000000000000000000" pitchFamily="2" charset="2"/>
              <a:buChar char="¢"/>
              <a:defRPr sz="1400" b="0" kern="1200">
                <a:solidFill>
                  <a:schemeClr val="tx1"/>
                </a:solidFill>
                <a:latin typeface="+mn-lt"/>
                <a:ea typeface="+mn-ea"/>
                <a:cs typeface="+mn-cs"/>
              </a:defRPr>
            </a:lvl2pPr>
            <a:lvl3pPr marL="354200" indent="-177800" algn="l" defTabSz="357708" rtl="0" eaLnBrk="1" latinLnBrk="0" hangingPunct="1">
              <a:lnSpc>
                <a:spcPct val="140000"/>
              </a:lnSpc>
              <a:spcBef>
                <a:spcPts val="0"/>
              </a:spcBef>
              <a:spcAft>
                <a:spcPts val="0"/>
              </a:spcAft>
              <a:buClr>
                <a:schemeClr val="accent2"/>
              </a:buClr>
              <a:buSzPct val="100000"/>
              <a:buFont typeface="Wingdings" panose="05000000000000000000" pitchFamily="2" charset="2"/>
              <a:buChar char=""/>
              <a:defRPr sz="1400" b="0" kern="1200">
                <a:solidFill>
                  <a:schemeClr val="tx1"/>
                </a:solidFill>
                <a:latin typeface="+mn-lt"/>
                <a:ea typeface="+mn-ea"/>
                <a:cs typeface="+mn-cs"/>
              </a:defRPr>
            </a:lvl3pPr>
            <a:lvl4pPr marL="532000" indent="-177800" algn="l" defTabSz="357708" rtl="0" eaLnBrk="1" latinLnBrk="0" hangingPunct="1">
              <a:lnSpc>
                <a:spcPct val="140000"/>
              </a:lnSpc>
              <a:spcBef>
                <a:spcPts val="0"/>
              </a:spcBef>
              <a:spcAft>
                <a:spcPts val="0"/>
              </a:spcAft>
              <a:buClr>
                <a:schemeClr val="tx1"/>
              </a:buClr>
              <a:buSzPct val="100000"/>
              <a:buFont typeface="Wingdings" panose="05000000000000000000" pitchFamily="2" charset="2"/>
              <a:buChar char=""/>
              <a:defRPr sz="1400" b="0" kern="1200" baseline="0">
                <a:solidFill>
                  <a:schemeClr val="tx1"/>
                </a:solidFill>
                <a:latin typeface="+mn-lt"/>
                <a:ea typeface="+mn-ea"/>
                <a:cs typeface="+mn-cs"/>
              </a:defRPr>
            </a:lvl4pPr>
            <a:lvl5pPr marL="684400" indent="-152400" algn="l" defTabSz="357708" rtl="0" eaLnBrk="1" latinLnBrk="0" hangingPunct="1">
              <a:lnSpc>
                <a:spcPct val="140000"/>
              </a:lnSpc>
              <a:spcBef>
                <a:spcPts val="0"/>
              </a:spcBef>
              <a:spcAft>
                <a:spcPts val="0"/>
              </a:spcAft>
              <a:buClr>
                <a:schemeClr val="tx1"/>
              </a:buClr>
              <a:buSzPct val="100000"/>
              <a:buFont typeface="Wingdings" panose="05000000000000000000" pitchFamily="2" charset="2"/>
              <a:buChar char=""/>
              <a:defRPr sz="1200" kern="1200">
                <a:solidFill>
                  <a:schemeClr val="tx1"/>
                </a:solidFill>
                <a:latin typeface="+mn-lt"/>
                <a:ea typeface="+mn-ea"/>
                <a:cs typeface="+mn-cs"/>
              </a:defRPr>
            </a:lvl5pPr>
            <a:lvl6pPr marL="824100" indent="-139700" algn="l" defTabSz="357708" rtl="0" eaLnBrk="1" latinLnBrk="0" hangingPunct="1">
              <a:lnSpc>
                <a:spcPct val="140000"/>
              </a:lnSpc>
              <a:spcBef>
                <a:spcPts val="0"/>
              </a:spcBef>
              <a:spcAft>
                <a:spcPts val="0"/>
              </a:spcAft>
              <a:buClr>
                <a:schemeClr val="tx1"/>
              </a:buClr>
              <a:buSzPct val="100000"/>
              <a:buFont typeface="Wingdings" panose="05000000000000000000" pitchFamily="2" charset="2"/>
              <a:buChar char=""/>
              <a:defRPr sz="11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en-US" sz="1600" b="1">
                <a:solidFill>
                  <a:schemeClr val="bg1"/>
                </a:solidFill>
              </a:rPr>
              <a:t>SOLUTIONS </a:t>
            </a:r>
            <a:r>
              <a:rPr lang="en-US" sz="1600" b="1" dirty="0">
                <a:solidFill>
                  <a:schemeClr val="bg1"/>
                </a:solidFill>
              </a:rPr>
              <a:t>FOR FURTHER DEVELOPMENT</a:t>
            </a:r>
          </a:p>
        </p:txBody>
      </p:sp>
      <p:sp>
        <p:nvSpPr>
          <p:cNvPr id="18" name="Slide Number Placeholder 17">
            <a:extLst>
              <a:ext uri="{FF2B5EF4-FFF2-40B4-BE49-F238E27FC236}">
                <a16:creationId xmlns:a16="http://schemas.microsoft.com/office/drawing/2014/main" id="{348355E7-6E27-C367-BA30-DB624E12463B}"/>
              </a:ext>
            </a:extLst>
          </p:cNvPr>
          <p:cNvSpPr>
            <a:spLocks noGrp="1"/>
          </p:cNvSpPr>
          <p:nvPr>
            <p:ph type="sldNum" sz="quarter" idx="4"/>
          </p:nvPr>
        </p:nvSpPr>
        <p:spPr/>
        <p:txBody>
          <a:bodyPr/>
          <a:lstStyle/>
          <a:p>
            <a:fld id="{D32BAE6A-B452-4007-8177-56DD051636F9}" type="slidenum">
              <a:rPr lang="en-GB" noProof="1" smtClean="0"/>
              <a:pPr/>
              <a:t>8</a:t>
            </a:fld>
            <a:endParaRPr lang="en-GB" noProof="1"/>
          </a:p>
        </p:txBody>
      </p:sp>
    </p:spTree>
    <p:extLst>
      <p:ext uri="{BB962C8B-B14F-4D97-AF65-F5344CB8AC3E}">
        <p14:creationId xmlns:p14="http://schemas.microsoft.com/office/powerpoint/2010/main" val="3797906392"/>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1D246B6-467B-497B-E90E-082622D5F0B6}"/>
              </a:ext>
            </a:extLst>
          </p:cNvPr>
          <p:cNvGraphicFramePr>
            <a:graphicFrameLocks noChangeAspect="1"/>
          </p:cNvGraphicFramePr>
          <p:nvPr>
            <p:custDataLst>
              <p:tags r:id="rId1"/>
            </p:custDataLst>
            <p:extLst>
              <p:ext uri="{D42A27DB-BD31-4B8C-83A1-F6EECF244321}">
                <p14:modId xmlns:p14="http://schemas.microsoft.com/office/powerpoint/2010/main" val="325259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5" name="think-cell data - do not delete" hidden="1">
                        <a:extLst>
                          <a:ext uri="{FF2B5EF4-FFF2-40B4-BE49-F238E27FC236}">
                            <a16:creationId xmlns:a16="http://schemas.microsoft.com/office/drawing/2014/main" id="{91D246B6-467B-497B-E90E-082622D5F0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D86F2BD-3566-C719-67E8-7D7D02F56458}"/>
              </a:ext>
            </a:extLst>
          </p:cNvPr>
          <p:cNvSpPr>
            <a:spLocks noGrp="1"/>
          </p:cNvSpPr>
          <p:nvPr>
            <p:ph type="title"/>
          </p:nvPr>
        </p:nvSpPr>
        <p:spPr>
          <a:xfrm>
            <a:off x="401468" y="18330"/>
            <a:ext cx="11171238" cy="352520"/>
          </a:xfrm>
        </p:spPr>
        <p:txBody>
          <a:bodyPr vert="horz"/>
          <a:lstStyle/>
          <a:p>
            <a:r>
              <a:rPr lang="en-US" dirty="0"/>
              <a:t>RCA - Summary</a:t>
            </a:r>
          </a:p>
        </p:txBody>
      </p:sp>
      <p:sp>
        <p:nvSpPr>
          <p:cNvPr id="3" name="Date Placeholder 2">
            <a:extLst>
              <a:ext uri="{FF2B5EF4-FFF2-40B4-BE49-F238E27FC236}">
                <a16:creationId xmlns:a16="http://schemas.microsoft.com/office/drawing/2014/main" id="{B5433CB7-7FAF-D152-2343-727211A6372F}"/>
              </a:ext>
            </a:extLst>
          </p:cNvPr>
          <p:cNvSpPr>
            <a:spLocks noGrp="1"/>
          </p:cNvSpPr>
          <p:nvPr>
            <p:ph type="dt" sz="half" idx="2"/>
          </p:nvPr>
        </p:nvSpPr>
        <p:spPr/>
        <p:txBody>
          <a:bodyPr/>
          <a:lstStyle/>
          <a:p>
            <a:pPr>
              <a:defRPr/>
            </a:pPr>
            <a:r>
              <a:rPr lang="en-GB" noProof="1"/>
              <a:t>Feb 2024</a:t>
            </a:r>
          </a:p>
        </p:txBody>
      </p:sp>
      <p:graphicFrame>
        <p:nvGraphicFramePr>
          <p:cNvPr id="6" name="Table 5">
            <a:extLst>
              <a:ext uri="{FF2B5EF4-FFF2-40B4-BE49-F238E27FC236}">
                <a16:creationId xmlns:a16="http://schemas.microsoft.com/office/drawing/2014/main" id="{25A118A0-90B2-5A27-61F1-44F03B26A6DE}"/>
              </a:ext>
            </a:extLst>
          </p:cNvPr>
          <p:cNvGraphicFramePr>
            <a:graphicFrameLocks noGrp="1"/>
          </p:cNvGraphicFramePr>
          <p:nvPr>
            <p:extLst>
              <p:ext uri="{D42A27DB-BD31-4B8C-83A1-F6EECF244321}">
                <p14:modId xmlns:p14="http://schemas.microsoft.com/office/powerpoint/2010/main" val="1807057804"/>
              </p:ext>
            </p:extLst>
          </p:nvPr>
        </p:nvGraphicFramePr>
        <p:xfrm>
          <a:off x="444229" y="551643"/>
          <a:ext cx="11471848" cy="6035040"/>
        </p:xfrm>
        <a:graphic>
          <a:graphicData uri="http://schemas.openxmlformats.org/drawingml/2006/table">
            <a:tbl>
              <a:tblPr>
                <a:tableStyleId>{5940675A-B579-460E-94D1-54222C63F5DA}</a:tableStyleId>
              </a:tblPr>
              <a:tblGrid>
                <a:gridCol w="586814">
                  <a:extLst>
                    <a:ext uri="{9D8B030D-6E8A-4147-A177-3AD203B41FA5}">
                      <a16:colId xmlns:a16="http://schemas.microsoft.com/office/drawing/2014/main" val="2723457629"/>
                    </a:ext>
                  </a:extLst>
                </a:gridCol>
                <a:gridCol w="1367236">
                  <a:extLst>
                    <a:ext uri="{9D8B030D-6E8A-4147-A177-3AD203B41FA5}">
                      <a16:colId xmlns:a16="http://schemas.microsoft.com/office/drawing/2014/main" val="3295096796"/>
                    </a:ext>
                  </a:extLst>
                </a:gridCol>
                <a:gridCol w="4444048">
                  <a:extLst>
                    <a:ext uri="{9D8B030D-6E8A-4147-A177-3AD203B41FA5}">
                      <a16:colId xmlns:a16="http://schemas.microsoft.com/office/drawing/2014/main" val="3441678225"/>
                    </a:ext>
                  </a:extLst>
                </a:gridCol>
                <a:gridCol w="5073750">
                  <a:extLst>
                    <a:ext uri="{9D8B030D-6E8A-4147-A177-3AD203B41FA5}">
                      <a16:colId xmlns:a16="http://schemas.microsoft.com/office/drawing/2014/main" val="2593531152"/>
                    </a:ext>
                  </a:extLst>
                </a:gridCol>
              </a:tblGrid>
              <a:tr h="0">
                <a:tc>
                  <a:txBody>
                    <a:bodyPr/>
                    <a:lstStyle/>
                    <a:p>
                      <a:pPr algn="l" rtl="0" fontAlgn="t"/>
                      <a:r>
                        <a:rPr lang="en-US" sz="600" b="1" u="none" strike="noStrike" dirty="0">
                          <a:solidFill>
                            <a:srgbClr val="4A4A4A"/>
                          </a:solidFill>
                          <a:effectLst/>
                        </a:rPr>
                        <a:t>Contributors</a:t>
                      </a:r>
                      <a:endParaRPr lang="en-US" sz="600" b="1" i="0" u="none" strike="noStrike" dirty="0">
                        <a:solidFill>
                          <a:srgbClr val="4A4A4A"/>
                        </a:solidFill>
                        <a:effectLst/>
                        <a:latin typeface="+mn-lt"/>
                      </a:endParaRPr>
                    </a:p>
                  </a:txBody>
                  <a:tcPr marL="45720" marR="45720">
                    <a:lnL w="12700" cmpd="sng">
                      <a:noFill/>
                    </a:lnL>
                    <a:lnR w="12700" cmpd="sng">
                      <a:noFill/>
                    </a:lnR>
                    <a:lnT w="12700" cmpd="sng">
                      <a:noFill/>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600" b="1" i="0" u="none" strike="noStrike" dirty="0">
                          <a:solidFill>
                            <a:srgbClr val="4A4A4A"/>
                          </a:solidFill>
                          <a:effectLst/>
                          <a:latin typeface="+mn-lt"/>
                        </a:rPr>
                        <a:t>Why</a:t>
                      </a:r>
                    </a:p>
                  </a:txBody>
                  <a:tcPr marL="45720" marR="45720">
                    <a:lnL w="12700" cmpd="sng">
                      <a:noFill/>
                    </a:lnL>
                    <a:lnR w="12700" cmpd="sng">
                      <a:noFill/>
                    </a:lnR>
                    <a:lnT w="12700" cmpd="sng">
                      <a:noFill/>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t"/>
                      <a:r>
                        <a:rPr lang="en-US" sz="600" b="1" u="none" strike="noStrike" dirty="0">
                          <a:solidFill>
                            <a:srgbClr val="4A4A4A"/>
                          </a:solidFill>
                          <a:effectLst/>
                        </a:rPr>
                        <a:t>Why</a:t>
                      </a:r>
                      <a:endParaRPr lang="en-US" sz="600" b="1" i="0" u="none" strike="noStrike" dirty="0">
                        <a:solidFill>
                          <a:srgbClr val="4A4A4A"/>
                        </a:solidFill>
                        <a:effectLst/>
                        <a:latin typeface="+mn-lt"/>
                      </a:endParaRPr>
                    </a:p>
                  </a:txBody>
                  <a:tcPr marL="45720" marR="45720">
                    <a:lnL w="12700" cmpd="sng">
                      <a:noFill/>
                    </a:lnL>
                    <a:lnR w="12700" cmpd="sng">
                      <a:noFill/>
                    </a:lnR>
                    <a:lnT w="12700" cmpd="sng">
                      <a:noFill/>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US" sz="600" b="1" u="none" strike="noStrike" dirty="0">
                          <a:solidFill>
                            <a:srgbClr val="4A4A4A"/>
                          </a:solidFill>
                          <a:effectLst/>
                        </a:rPr>
                        <a:t>Why</a:t>
                      </a:r>
                      <a:endParaRPr lang="en-US" sz="600" b="1" i="0" u="none" strike="noStrike" dirty="0">
                        <a:solidFill>
                          <a:srgbClr val="4A4A4A"/>
                        </a:solidFill>
                        <a:effectLst/>
                        <a:latin typeface="+mn-lt"/>
                      </a:endParaRPr>
                    </a:p>
                  </a:txBody>
                  <a:tcPr marL="45720" marR="45720">
                    <a:lnL w="12700" cmpd="sng">
                      <a:noFill/>
                    </a:lnL>
                    <a:lnR w="12700" cmpd="sng">
                      <a:noFill/>
                    </a:lnR>
                    <a:lnT w="12700" cmpd="sng">
                      <a:noFill/>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0054984"/>
                  </a:ext>
                </a:extLst>
              </a:tr>
              <a:tr h="193490">
                <a:tc rowSpan="4">
                  <a:txBody>
                    <a:bodyPr/>
                    <a:lstStyle/>
                    <a:p>
                      <a:pPr algn="l" rtl="0" fontAlgn="t"/>
                      <a:r>
                        <a:rPr lang="en-US" sz="600" u="none" strike="noStrike" dirty="0">
                          <a:solidFill>
                            <a:srgbClr val="4A4A4A"/>
                          </a:solidFill>
                          <a:effectLst/>
                        </a:rPr>
                        <a:t>Slow</a:t>
                      </a:r>
                    </a:p>
                    <a:p>
                      <a:pPr algn="l" rtl="0" fontAlgn="t"/>
                      <a:r>
                        <a:rPr lang="en-US" sz="600" u="none" strike="noStrike" dirty="0">
                          <a:solidFill>
                            <a:srgbClr val="4A4A4A"/>
                          </a:solidFill>
                          <a:effectLst/>
                        </a:rPr>
                        <a:t>Loading</a:t>
                      </a:r>
                      <a:endParaRPr lang="en-US" sz="600" b="0" i="0" u="none" strike="noStrike" dirty="0">
                        <a:solidFill>
                          <a:srgbClr val="4A4A4A"/>
                        </a:solidFill>
                        <a:effectLst/>
                        <a:latin typeface="+mn-lt"/>
                      </a:endParaRPr>
                    </a:p>
                  </a:txBody>
                  <a:tcPr marL="45720" marR="45720">
                    <a:lnL w="6350" cap="flat" cmpd="sng" algn="ctr">
                      <a:solidFill>
                        <a:schemeClr val="tx2"/>
                      </a:solidFill>
                      <a:prstDash val="solid"/>
                      <a:round/>
                      <a:headEnd type="none" w="med" len="med"/>
                      <a:tailEnd type="none" w="med" len="med"/>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rtl="0" fontAlgn="t"/>
                      <a:r>
                        <a:rPr lang="en-US" sz="600" u="none" strike="noStrike" dirty="0">
                          <a:solidFill>
                            <a:srgbClr val="4A4A4A"/>
                          </a:solidFill>
                          <a:effectLst/>
                        </a:rPr>
                        <a:t>1.Loading on TCMS</a:t>
                      </a:r>
                      <a:endParaRPr lang="en-US" sz="600" b="0" i="0" u="none" strike="noStrike" dirty="0">
                        <a:solidFill>
                          <a:srgbClr val="4A4A4A"/>
                        </a:solidFill>
                        <a:effectLst/>
                        <a:latin typeface="+mn-lt"/>
                      </a:endParaRPr>
                    </a:p>
                  </a:txBody>
                  <a:tcPr marL="45720" marR="4572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rtl="0" fontAlgn="t"/>
                      <a:r>
                        <a:rPr lang="en-US" sz="600" u="none" strike="noStrike" dirty="0">
                          <a:solidFill>
                            <a:srgbClr val="4A4A4A"/>
                          </a:solidFill>
                          <a:effectLst/>
                        </a:rPr>
                        <a:t>1.SBM2 was replaced by TCMS</a:t>
                      </a:r>
                      <a:br>
                        <a:rPr lang="en-US" sz="600" u="none" strike="noStrike" dirty="0">
                          <a:solidFill>
                            <a:srgbClr val="4A4A4A"/>
                          </a:solidFill>
                          <a:effectLst/>
                        </a:rPr>
                      </a:br>
                      <a:r>
                        <a:rPr lang="en-US" sz="600" u="none" strike="noStrike" dirty="0">
                          <a:solidFill>
                            <a:srgbClr val="4A4A4A"/>
                          </a:solidFill>
                          <a:effectLst/>
                        </a:rPr>
                        <a:t>2.TCMS was installed with design limitations</a:t>
                      </a:r>
                      <a:br>
                        <a:rPr lang="en-US" sz="600" u="none" strike="noStrike" dirty="0">
                          <a:solidFill>
                            <a:srgbClr val="4A4A4A"/>
                          </a:solidFill>
                          <a:effectLst/>
                        </a:rPr>
                      </a:br>
                      <a:r>
                        <a:rPr lang="en-US" sz="600" u="none" strike="noStrike" dirty="0">
                          <a:solidFill>
                            <a:srgbClr val="4A4A4A"/>
                          </a:solidFill>
                          <a:effectLst/>
                        </a:rPr>
                        <a:t>3.SBM1 and accessories failure/repair</a:t>
                      </a:r>
                      <a:endParaRPr lang="en-US" sz="600" b="0" i="0" u="none" strike="noStrike" dirty="0">
                        <a:solidFill>
                          <a:srgbClr val="4A4A4A"/>
                        </a:solidFill>
                        <a:effectLst/>
                        <a:latin typeface="+mn-lt"/>
                      </a:endParaRPr>
                    </a:p>
                  </a:txBody>
                  <a:tcPr marL="45720" marR="4572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fontAlgn="t"/>
                      <a:r>
                        <a:rPr lang="en-US" sz="600" u="none" strike="noStrike" dirty="0">
                          <a:solidFill>
                            <a:srgbClr val="4A4A4A"/>
                          </a:solidFill>
                          <a:effectLst/>
                        </a:rPr>
                        <a:t>Flow rate at 50% of Shore Max loading </a:t>
                      </a:r>
                      <a:r>
                        <a:rPr lang="en-US" sz="600" u="none" strike="noStrike" dirty="0" err="1">
                          <a:solidFill>
                            <a:srgbClr val="4A4A4A"/>
                          </a:solidFill>
                          <a:effectLst/>
                        </a:rPr>
                        <a:t>rates.which</a:t>
                      </a:r>
                      <a:r>
                        <a:rPr lang="en-US" sz="600" u="none" strike="noStrike" dirty="0">
                          <a:solidFill>
                            <a:srgbClr val="4A4A4A"/>
                          </a:solidFill>
                          <a:effectLst/>
                        </a:rPr>
                        <a:t> means full parcel of 1million </a:t>
                      </a:r>
                      <a:r>
                        <a:rPr lang="en-US" sz="600" u="none" strike="noStrike" dirty="0" err="1">
                          <a:solidFill>
                            <a:srgbClr val="4A4A4A"/>
                          </a:solidFill>
                          <a:effectLst/>
                        </a:rPr>
                        <a:t>barells</a:t>
                      </a:r>
                      <a:r>
                        <a:rPr lang="en-US" sz="600" u="none" strike="noStrike" dirty="0">
                          <a:solidFill>
                            <a:srgbClr val="4A4A4A"/>
                          </a:solidFill>
                          <a:effectLst/>
                        </a:rPr>
                        <a:t> will take </a:t>
                      </a:r>
                      <a:br>
                        <a:rPr lang="en-US" sz="600" u="none" strike="noStrike" dirty="0">
                          <a:solidFill>
                            <a:srgbClr val="4A4A4A"/>
                          </a:solidFill>
                          <a:effectLst/>
                        </a:rPr>
                      </a:br>
                      <a:r>
                        <a:rPr lang="en-US" sz="600" u="none" strike="noStrike" dirty="0">
                          <a:solidFill>
                            <a:srgbClr val="4A4A4A"/>
                          </a:solidFill>
                          <a:effectLst/>
                        </a:rPr>
                        <a:t>Loading at TCMS requires much calmer weather conditions than the SBM can withstand - offtake will be delayed or suspended if already in progress when weather conditions deteriorate.</a:t>
                      </a:r>
                      <a:endParaRPr lang="en-US" sz="600" b="0" i="0" u="none" strike="noStrike" dirty="0">
                        <a:solidFill>
                          <a:srgbClr val="4A4A4A"/>
                        </a:solidFill>
                        <a:effectLst/>
                        <a:latin typeface="+mn-lt"/>
                      </a:endParaRPr>
                    </a:p>
                  </a:txBody>
                  <a:tcPr marL="45720" marR="45720">
                    <a:lnL w="12700" cmpd="sng">
                      <a:noFill/>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19935998"/>
                  </a:ext>
                </a:extLst>
              </a:tr>
              <a:tr h="0">
                <a:tc vMerge="1">
                  <a:txBody>
                    <a:bodyPr/>
                    <a:lstStyle/>
                    <a:p>
                      <a:endParaRPr lang="en-US"/>
                    </a:p>
                  </a:txBody>
                  <a:tcPr/>
                </a:tc>
                <a:tc rowSpan="2">
                  <a:txBody>
                    <a:bodyPr/>
                    <a:lstStyle/>
                    <a:p>
                      <a:pPr algn="l" rtl="0" fontAlgn="t"/>
                      <a:r>
                        <a:rPr lang="en-US" sz="600" u="none" strike="noStrike" dirty="0">
                          <a:solidFill>
                            <a:srgbClr val="4A4A4A"/>
                          </a:solidFill>
                          <a:effectLst/>
                        </a:rPr>
                        <a:t>2.Loading from SBM1 with one floating hose or one subsea hose</a:t>
                      </a:r>
                    </a:p>
                    <a:p>
                      <a:pPr algn="l" rtl="0" fontAlgn="t"/>
                      <a:r>
                        <a:rPr lang="en-US" sz="600" u="none" strike="noStrike" dirty="0">
                          <a:solidFill>
                            <a:srgbClr val="4A4A4A"/>
                          </a:solidFill>
                          <a:effectLst/>
                        </a:rPr>
                        <a:t> </a:t>
                      </a:r>
                      <a:endParaRPr lang="en-US" sz="600" b="0" i="0" u="none" strike="noStrike" dirty="0">
                        <a:solidFill>
                          <a:srgbClr val="4A4A4A"/>
                        </a:solidFill>
                        <a:effectLst/>
                        <a:latin typeface="+mn-lt"/>
                      </a:endParaRPr>
                    </a:p>
                  </a:txBody>
                  <a:tcPr marL="45720" marR="4572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rtl="0" fontAlgn="t"/>
                      <a:r>
                        <a:rPr lang="en-US" sz="600" u="none" strike="noStrike" dirty="0">
                          <a:solidFill>
                            <a:srgbClr val="4A4A4A"/>
                          </a:solidFill>
                          <a:effectLst/>
                        </a:rPr>
                        <a:t>1. Floating Hose - Lacerations on sections of the floating hose string.</a:t>
                      </a:r>
                      <a:endParaRPr lang="en-US" sz="600" b="0" i="0" u="none" strike="noStrike" dirty="0">
                        <a:solidFill>
                          <a:srgbClr val="4A4A4A"/>
                        </a:solidFill>
                        <a:effectLst/>
                        <a:latin typeface="+mn-lt"/>
                      </a:endParaRPr>
                    </a:p>
                  </a:txBody>
                  <a:tcPr marL="45720" marR="4572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fontAlgn="t"/>
                      <a:r>
                        <a:rPr lang="en-US" sz="600" u="none" strike="noStrike" dirty="0">
                          <a:solidFill>
                            <a:srgbClr val="4A4A4A"/>
                          </a:solidFill>
                          <a:effectLst/>
                        </a:rPr>
                        <a:t>1. Floating hose sustained damage - likely impact from vessels</a:t>
                      </a:r>
                      <a:endParaRPr lang="en-US" sz="600" b="0" i="0" u="none" strike="noStrike" dirty="0">
                        <a:solidFill>
                          <a:srgbClr val="4A4A4A"/>
                        </a:solidFill>
                        <a:effectLst/>
                        <a:latin typeface="+mn-lt"/>
                      </a:endParaRPr>
                    </a:p>
                  </a:txBody>
                  <a:tcPr marL="45720" marR="45720">
                    <a:lnL w="12700" cmpd="sng">
                      <a:noFill/>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99170294"/>
                  </a:ext>
                </a:extLst>
              </a:tr>
              <a:tr h="145117">
                <a:tc vMerge="1">
                  <a:txBody>
                    <a:bodyPr/>
                    <a:lstStyle/>
                    <a:p>
                      <a:endParaRPr lang="en-US"/>
                    </a:p>
                  </a:txBody>
                  <a:tcPr/>
                </a:tc>
                <a:tc vMerge="1">
                  <a:txBody>
                    <a:bodyPr/>
                    <a:lstStyle/>
                    <a:p>
                      <a:pPr algn="l" rtl="0" fontAlgn="t"/>
                      <a:r>
                        <a:rPr lang="en-US" sz="700" u="none" strike="noStrike" dirty="0">
                          <a:solidFill>
                            <a:srgbClr val="4A4A4A"/>
                          </a:solidFill>
                          <a:effectLst/>
                        </a:rPr>
                        <a:t> </a:t>
                      </a:r>
                      <a:endParaRPr lang="en-US" sz="700" b="0" i="0" u="none" strike="noStrike" dirty="0">
                        <a:solidFill>
                          <a:srgbClr val="4A4A4A"/>
                        </a:solidFill>
                        <a:effectLst/>
                        <a:latin typeface="+mn-lt"/>
                      </a:endParaRPr>
                    </a:p>
                  </a:txBody>
                  <a:tcPr marL="45720" marR="45720">
                    <a:lnL w="12700" cmpd="sng">
                      <a:noFill/>
                    </a:lnL>
                    <a:lnR w="12700" cmpd="sng">
                      <a:noFill/>
                    </a:lnR>
                    <a:lnT w="12700" cmpd="sng">
                      <a:noFill/>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E4DFCF"/>
                    </a:solidFill>
                  </a:tcPr>
                </a:tc>
                <a:tc>
                  <a:txBody>
                    <a:bodyPr/>
                    <a:lstStyle/>
                    <a:p>
                      <a:pPr algn="l" rtl="0" fontAlgn="t"/>
                      <a:r>
                        <a:rPr lang="en-US" sz="600" u="none" strike="noStrike" dirty="0">
                          <a:solidFill>
                            <a:srgbClr val="4A4A4A"/>
                          </a:solidFill>
                          <a:effectLst/>
                        </a:rPr>
                        <a:t>2. Subsea Hose failure- leak developed</a:t>
                      </a:r>
                      <a:endParaRPr lang="en-US" sz="600" b="0" i="0" u="none" strike="noStrike" dirty="0">
                        <a:solidFill>
                          <a:srgbClr val="4A4A4A"/>
                        </a:solidFill>
                        <a:effectLst/>
                        <a:latin typeface="+mn-lt"/>
                      </a:endParaRPr>
                    </a:p>
                  </a:txBody>
                  <a:tcPr marL="45720" marR="4572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fontAlgn="t"/>
                      <a:r>
                        <a:rPr lang="en-US" sz="600" u="none" strike="noStrike" dirty="0">
                          <a:solidFill>
                            <a:srgbClr val="4A4A4A"/>
                          </a:solidFill>
                          <a:effectLst/>
                        </a:rPr>
                        <a:t>2. SSH - failed in service at 7.5yrs beyond OEM recommended replacement interval of 5years. Shell-RBI study outcome led to service extension of 7.5yrs.</a:t>
                      </a:r>
                      <a:endParaRPr lang="en-US" sz="600" b="0" i="0" u="none" strike="noStrike" dirty="0">
                        <a:solidFill>
                          <a:srgbClr val="4A4A4A"/>
                        </a:solidFill>
                        <a:effectLst/>
                        <a:latin typeface="+mn-lt"/>
                      </a:endParaRPr>
                    </a:p>
                  </a:txBody>
                  <a:tcPr marL="45720" marR="45720">
                    <a:lnL w="12700" cmpd="sng">
                      <a:noFill/>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671399912"/>
                  </a:ext>
                </a:extLst>
              </a:tr>
              <a:tr h="241862">
                <a:tc vMerge="1">
                  <a:txBody>
                    <a:bodyPr/>
                    <a:lstStyle/>
                    <a:p>
                      <a:endParaRPr lang="en-US"/>
                    </a:p>
                  </a:txBody>
                  <a:tcPr/>
                </a:tc>
                <a:tc>
                  <a:txBody>
                    <a:bodyPr/>
                    <a:lstStyle/>
                    <a:p>
                      <a:pPr algn="l" rtl="0" fontAlgn="t"/>
                      <a:r>
                        <a:rPr lang="en-US" sz="600" u="none" strike="noStrike" dirty="0">
                          <a:solidFill>
                            <a:srgbClr val="4A4A4A"/>
                          </a:solidFill>
                          <a:effectLst/>
                        </a:rPr>
                        <a:t>3.FOT export flow constraints from onshore systems</a:t>
                      </a:r>
                    </a:p>
                    <a:p>
                      <a:pPr algn="l" rtl="0" fontAlgn="t"/>
                      <a:r>
                        <a:rPr lang="en-US" sz="600" u="none" strike="noStrike" dirty="0">
                          <a:solidFill>
                            <a:srgbClr val="4A4A4A"/>
                          </a:solidFill>
                          <a:effectLst/>
                        </a:rPr>
                        <a:t>i.e. loading at rates below shore max.</a:t>
                      </a:r>
                      <a:endParaRPr lang="en-US" sz="600" b="0" i="0" u="none" strike="noStrike" dirty="0">
                        <a:solidFill>
                          <a:srgbClr val="4A4A4A"/>
                        </a:solidFill>
                        <a:effectLst/>
                        <a:latin typeface="+mn-lt"/>
                      </a:endParaRPr>
                    </a:p>
                  </a:txBody>
                  <a:tcPr marL="45720" marR="4572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rtl="0" fontAlgn="t"/>
                      <a:r>
                        <a:rPr lang="en-US" sz="600" u="none" strike="noStrike" dirty="0">
                          <a:solidFill>
                            <a:srgbClr val="4A4A4A"/>
                          </a:solidFill>
                          <a:effectLst/>
                        </a:rPr>
                        <a:t>Equipment required for shore max:</a:t>
                      </a:r>
                      <a:br>
                        <a:rPr lang="en-US" sz="600" u="none" strike="noStrike" dirty="0">
                          <a:solidFill>
                            <a:srgbClr val="4A4A4A"/>
                          </a:solidFill>
                          <a:effectLst/>
                        </a:rPr>
                      </a:br>
                      <a:r>
                        <a:rPr lang="en-US" sz="600" u="none" strike="noStrike" dirty="0">
                          <a:solidFill>
                            <a:srgbClr val="4A4A4A"/>
                          </a:solidFill>
                          <a:effectLst/>
                        </a:rPr>
                        <a:t>3 Power Turbines + 5 booster pumps + 4 Export pumps + 5 meter runs.</a:t>
                      </a:r>
                      <a:br>
                        <a:rPr lang="en-US" sz="600" u="none" strike="noStrike" dirty="0">
                          <a:solidFill>
                            <a:srgbClr val="4A4A4A"/>
                          </a:solidFill>
                          <a:effectLst/>
                        </a:rPr>
                      </a:br>
                      <a:r>
                        <a:rPr lang="en-US" sz="600" u="none" strike="noStrike" dirty="0">
                          <a:solidFill>
                            <a:srgbClr val="4A4A4A"/>
                          </a:solidFill>
                          <a:effectLst/>
                        </a:rPr>
                        <a:t>Equipment Nos installed:</a:t>
                      </a:r>
                      <a:br>
                        <a:rPr lang="en-US" sz="600" u="none" strike="noStrike" dirty="0">
                          <a:solidFill>
                            <a:srgbClr val="4A4A4A"/>
                          </a:solidFill>
                          <a:effectLst/>
                        </a:rPr>
                      </a:br>
                      <a:r>
                        <a:rPr lang="en-US" sz="600" u="none" strike="noStrike" dirty="0">
                          <a:solidFill>
                            <a:srgbClr val="4A4A4A"/>
                          </a:solidFill>
                          <a:effectLst/>
                        </a:rPr>
                        <a:t>6 Power Turbines + 5 booster pumps + 5 Export pumps + 6 meter runs</a:t>
                      </a:r>
                      <a:endParaRPr lang="en-US" sz="600" b="0" i="0" u="none" strike="noStrike" dirty="0">
                        <a:solidFill>
                          <a:srgbClr val="4A4A4A"/>
                        </a:solidFill>
                        <a:effectLst/>
                        <a:latin typeface="+mn-lt"/>
                      </a:endParaRPr>
                    </a:p>
                  </a:txBody>
                  <a:tcPr marL="45720" marR="4572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fontAlgn="t"/>
                      <a:r>
                        <a:rPr lang="en-US" sz="600" u="none" strike="noStrike" dirty="0">
                          <a:solidFill>
                            <a:srgbClr val="4A4A4A"/>
                          </a:solidFill>
                          <a:effectLst/>
                        </a:rPr>
                        <a:t>4oo5 Export pumps available.</a:t>
                      </a:r>
                      <a:br>
                        <a:rPr lang="en-US" sz="600" u="none" strike="noStrike" dirty="0">
                          <a:solidFill>
                            <a:srgbClr val="4A4A4A"/>
                          </a:solidFill>
                          <a:effectLst/>
                        </a:rPr>
                      </a:br>
                      <a:r>
                        <a:rPr lang="en-US" sz="600" u="none" strike="noStrike" dirty="0">
                          <a:solidFill>
                            <a:srgbClr val="4A4A4A"/>
                          </a:solidFill>
                          <a:effectLst/>
                        </a:rPr>
                        <a:t>Failure of any one of the available export pumps means FOT is unable to load at shore max.</a:t>
                      </a:r>
                      <a:endParaRPr lang="en-US" sz="600" b="0" i="0" u="none" strike="noStrike" dirty="0">
                        <a:solidFill>
                          <a:srgbClr val="4A4A4A"/>
                        </a:solidFill>
                        <a:effectLst/>
                        <a:latin typeface="+mn-lt"/>
                      </a:endParaRPr>
                    </a:p>
                  </a:txBody>
                  <a:tcPr marL="45720" marR="45720">
                    <a:lnL w="12700" cmpd="sng">
                      <a:noFill/>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99010852"/>
                  </a:ext>
                </a:extLst>
              </a:tr>
              <a:tr h="193490">
                <a:tc>
                  <a:txBody>
                    <a:bodyPr/>
                    <a:lstStyle/>
                    <a:p>
                      <a:pPr algn="l" rtl="0" fontAlgn="t"/>
                      <a:r>
                        <a:rPr lang="en-US" sz="600" u="none" strike="noStrike" dirty="0">
                          <a:solidFill>
                            <a:srgbClr val="4A4A4A"/>
                          </a:solidFill>
                          <a:effectLst/>
                        </a:rPr>
                        <a:t>SBM</a:t>
                      </a:r>
                    </a:p>
                    <a:p>
                      <a:pPr algn="l" rtl="0" fontAlgn="t"/>
                      <a:r>
                        <a:rPr lang="en-US" sz="600" u="none" strike="noStrike" dirty="0">
                          <a:solidFill>
                            <a:srgbClr val="4A4A4A"/>
                          </a:solidFill>
                          <a:effectLst/>
                        </a:rPr>
                        <a:t>Outage</a:t>
                      </a:r>
                      <a:endParaRPr lang="en-US" sz="600" b="0" i="0" u="none" strike="noStrike" dirty="0">
                        <a:solidFill>
                          <a:srgbClr val="4A4A4A"/>
                        </a:solidFill>
                        <a:effectLst/>
                        <a:latin typeface="+mn-lt"/>
                      </a:endParaRPr>
                    </a:p>
                  </a:txBody>
                  <a:tcPr marL="45720" marR="45720">
                    <a:lnL w="6350" cap="flat" cmpd="sng" algn="ctr">
                      <a:solidFill>
                        <a:schemeClr val="tx2"/>
                      </a:solidFill>
                      <a:prstDash val="solid"/>
                      <a:round/>
                      <a:headEnd type="none" w="med" len="med"/>
                      <a:tailEnd type="none" w="med" len="med"/>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t"/>
                      <a:r>
                        <a:rPr lang="en-US" sz="600" u="none" strike="noStrike" dirty="0">
                          <a:solidFill>
                            <a:srgbClr val="4A4A4A"/>
                          </a:solidFill>
                          <a:effectLst/>
                        </a:rPr>
                        <a:t>SBM1 was past end of life and failed in service.</a:t>
                      </a:r>
                      <a:br>
                        <a:rPr lang="en-US" sz="600" u="none" strike="noStrike" dirty="0">
                          <a:solidFill>
                            <a:srgbClr val="4A4A4A"/>
                          </a:solidFill>
                          <a:effectLst/>
                        </a:rPr>
                      </a:br>
                      <a:endParaRPr lang="en-US" sz="600" b="0" i="0" u="none" strike="noStrike" dirty="0">
                        <a:solidFill>
                          <a:srgbClr val="4A4A4A"/>
                        </a:solidFill>
                        <a:effectLst/>
                        <a:latin typeface="+mn-lt"/>
                      </a:endParaRPr>
                    </a:p>
                  </a:txBody>
                  <a:tcPr marL="45720" marR="4572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t"/>
                      <a:r>
                        <a:rPr lang="en-US" sz="600" u="none" strike="noStrike" dirty="0">
                          <a:solidFill>
                            <a:srgbClr val="4A4A4A"/>
                          </a:solidFill>
                          <a:effectLst/>
                        </a:rPr>
                        <a:t>OEM recommended 7yrs of service.</a:t>
                      </a:r>
                    </a:p>
                    <a:p>
                      <a:pPr algn="l" rtl="0" fontAlgn="t"/>
                      <a:r>
                        <a:rPr lang="en-US" sz="600" u="none" strike="noStrike" dirty="0">
                          <a:solidFill>
                            <a:srgbClr val="4A4A4A"/>
                          </a:solidFill>
                          <a:effectLst/>
                        </a:rPr>
                        <a:t>Shell-RBI study outcome extended field service to 10yrs.</a:t>
                      </a:r>
                      <a:br>
                        <a:rPr lang="en-US" sz="600" u="none" strike="noStrike" dirty="0">
                          <a:solidFill>
                            <a:srgbClr val="4A4A4A"/>
                          </a:solidFill>
                          <a:effectLst/>
                        </a:rPr>
                      </a:br>
                      <a:r>
                        <a:rPr lang="en-US" sz="600" u="none" strike="noStrike" dirty="0">
                          <a:solidFill>
                            <a:srgbClr val="4A4A4A"/>
                          </a:solidFill>
                          <a:effectLst/>
                        </a:rPr>
                        <a:t>SBM1 was in service for &gt;12yrs.</a:t>
                      </a:r>
                      <a:endParaRPr lang="en-US" sz="600" b="0" i="0" u="none" strike="noStrike" dirty="0">
                        <a:solidFill>
                          <a:srgbClr val="4A4A4A"/>
                        </a:solidFill>
                        <a:effectLst/>
                        <a:latin typeface="+mn-lt"/>
                      </a:endParaRPr>
                    </a:p>
                  </a:txBody>
                  <a:tcPr marL="45720" marR="4572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600" u="none" strike="noStrike" dirty="0">
                          <a:solidFill>
                            <a:srgbClr val="4A4A4A"/>
                          </a:solidFill>
                          <a:effectLst/>
                        </a:rPr>
                        <a:t> </a:t>
                      </a:r>
                      <a:endParaRPr lang="en-US" sz="600" b="0" i="0" u="none" strike="noStrike" dirty="0">
                        <a:solidFill>
                          <a:srgbClr val="4A4A4A"/>
                        </a:solidFill>
                        <a:effectLst/>
                        <a:latin typeface="+mn-lt"/>
                      </a:endParaRPr>
                    </a:p>
                  </a:txBody>
                  <a:tcPr marL="45720" marR="45720">
                    <a:lnL w="12700" cmpd="sng">
                      <a:noFill/>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43619487"/>
                  </a:ext>
                </a:extLst>
              </a:tr>
              <a:tr h="0">
                <a:tc rowSpan="9">
                  <a:txBody>
                    <a:bodyPr/>
                    <a:lstStyle/>
                    <a:p>
                      <a:pPr algn="l" rtl="0" fontAlgn="t"/>
                      <a:r>
                        <a:rPr lang="en-US" sz="600" u="none" strike="noStrike" dirty="0">
                          <a:solidFill>
                            <a:srgbClr val="4A4A4A"/>
                          </a:solidFill>
                          <a:effectLst/>
                        </a:rPr>
                        <a:t>Awaiting</a:t>
                      </a:r>
                    </a:p>
                    <a:p>
                      <a:pPr algn="l" rtl="0" fontAlgn="t"/>
                      <a:r>
                        <a:rPr lang="en-US" sz="600" u="none" strike="noStrike" dirty="0">
                          <a:solidFill>
                            <a:srgbClr val="4A4A4A"/>
                          </a:solidFill>
                          <a:effectLst/>
                        </a:rPr>
                        <a:t>Berthing </a:t>
                      </a:r>
                      <a:endParaRPr lang="en-US" sz="600" b="0" i="0" u="none" strike="noStrike" dirty="0">
                        <a:solidFill>
                          <a:srgbClr val="4A4A4A"/>
                        </a:solidFill>
                        <a:effectLst/>
                        <a:latin typeface="+mn-lt"/>
                      </a:endParaRPr>
                    </a:p>
                  </a:txBody>
                  <a:tcPr marL="45720" marR="45720">
                    <a:lnL w="6350" cap="flat" cmpd="sng" algn="ctr">
                      <a:solidFill>
                        <a:schemeClr val="tx2"/>
                      </a:solidFill>
                      <a:prstDash val="solid"/>
                      <a:round/>
                      <a:headEnd type="none" w="med" len="med"/>
                      <a:tailEnd type="none" w="med" len="med"/>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l" rtl="0" fontAlgn="t"/>
                      <a:r>
                        <a:rPr lang="en-US" sz="600" u="none" strike="noStrike" dirty="0">
                          <a:solidFill>
                            <a:srgbClr val="4A4A4A"/>
                          </a:solidFill>
                          <a:effectLst/>
                        </a:rPr>
                        <a:t>Grommet entanglement</a:t>
                      </a:r>
                      <a:endParaRPr lang="en-US" sz="600" b="0" i="0" u="none" strike="noStrike" dirty="0">
                        <a:solidFill>
                          <a:srgbClr val="4A4A4A"/>
                        </a:solidFill>
                        <a:effectLst/>
                        <a:latin typeface="+mn-lt"/>
                      </a:endParaRPr>
                    </a:p>
                  </a:txBody>
                  <a:tcPr marL="45720" marR="4572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rtl="0" fontAlgn="t"/>
                      <a:r>
                        <a:rPr lang="en-US" sz="600" u="none" strike="noStrike" dirty="0">
                          <a:solidFill>
                            <a:srgbClr val="4A4A4A"/>
                          </a:solidFill>
                          <a:effectLst/>
                        </a:rPr>
                        <a:t>Adverse weather condition/wave action</a:t>
                      </a:r>
                      <a:endParaRPr lang="en-US" sz="600" b="0" i="0" u="none" strike="noStrike" dirty="0">
                        <a:solidFill>
                          <a:srgbClr val="4A4A4A"/>
                        </a:solidFill>
                        <a:effectLst/>
                        <a:latin typeface="+mn-lt"/>
                      </a:endParaRPr>
                    </a:p>
                  </a:txBody>
                  <a:tcPr marL="45720" marR="4572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fontAlgn="t"/>
                      <a:r>
                        <a:rPr lang="en-US" sz="600" u="none" strike="noStrike" dirty="0">
                          <a:solidFill>
                            <a:srgbClr val="4A4A4A"/>
                          </a:solidFill>
                          <a:effectLst/>
                        </a:rPr>
                        <a:t> </a:t>
                      </a:r>
                      <a:endParaRPr lang="en-US" sz="600" b="0" i="0" u="none" strike="noStrike" dirty="0">
                        <a:solidFill>
                          <a:srgbClr val="4A4A4A"/>
                        </a:solidFill>
                        <a:effectLst/>
                        <a:latin typeface="+mn-lt"/>
                      </a:endParaRPr>
                    </a:p>
                  </a:txBody>
                  <a:tcPr marL="45720" marR="45720">
                    <a:lnL w="12700" cmpd="sng">
                      <a:noFill/>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375500573"/>
                  </a:ext>
                </a:extLst>
              </a:tr>
              <a:tr h="0">
                <a:tc vMerge="1">
                  <a:txBody>
                    <a:bodyPr/>
                    <a:lstStyle/>
                    <a:p>
                      <a:endParaRPr lang="en-US"/>
                    </a:p>
                  </a:txBody>
                  <a:tcPr/>
                </a:tc>
                <a:tc vMerge="1">
                  <a:txBody>
                    <a:bodyPr/>
                    <a:lstStyle/>
                    <a:p>
                      <a:endParaRPr lang="en-US"/>
                    </a:p>
                  </a:txBody>
                  <a:tcPr/>
                </a:tc>
                <a:tc>
                  <a:txBody>
                    <a:bodyPr/>
                    <a:lstStyle/>
                    <a:p>
                      <a:pPr algn="l" rtl="0" fontAlgn="t"/>
                      <a:r>
                        <a:rPr lang="en-US" sz="600" u="none" strike="noStrike" dirty="0">
                          <a:solidFill>
                            <a:srgbClr val="4A4A4A"/>
                          </a:solidFill>
                          <a:effectLst/>
                        </a:rPr>
                        <a:t>Line handling during mooring ops</a:t>
                      </a:r>
                      <a:endParaRPr lang="en-US" sz="600" b="0" i="0" u="none" strike="noStrike" dirty="0">
                        <a:solidFill>
                          <a:srgbClr val="4A4A4A"/>
                        </a:solidFill>
                        <a:effectLst/>
                        <a:latin typeface="+mn-lt"/>
                      </a:endParaRPr>
                    </a:p>
                  </a:txBody>
                  <a:tcPr marL="45720" marR="4572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1219170" rtl="0" eaLnBrk="1" fontAlgn="t" latinLnBrk="0" hangingPunct="1">
                        <a:lnSpc>
                          <a:spcPct val="100000"/>
                        </a:lnSpc>
                        <a:spcBef>
                          <a:spcPts val="0"/>
                        </a:spcBef>
                        <a:spcAft>
                          <a:spcPts val="0"/>
                        </a:spcAft>
                        <a:buClrTx/>
                        <a:buSzTx/>
                        <a:buFontTx/>
                        <a:buNone/>
                        <a:tabLst/>
                        <a:defRPr/>
                      </a:pPr>
                      <a:r>
                        <a:rPr lang="en-US" sz="600" u="none" strike="noStrike" dirty="0">
                          <a:solidFill>
                            <a:srgbClr val="4A4A4A"/>
                          </a:solidFill>
                          <a:effectLst/>
                        </a:rPr>
                        <a:t> Limited experience/capability of vessel captain.</a:t>
                      </a:r>
                      <a:endParaRPr lang="en-US" sz="600" b="0" i="0" u="none" strike="noStrike" dirty="0">
                        <a:solidFill>
                          <a:srgbClr val="4A4A4A"/>
                        </a:solidFill>
                        <a:effectLst/>
                        <a:latin typeface="+mn-lt"/>
                      </a:endParaRPr>
                    </a:p>
                  </a:txBody>
                  <a:tcPr marL="45720" marR="45720">
                    <a:lnL w="12700" cmpd="sng">
                      <a:noFill/>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8555795"/>
                  </a:ext>
                </a:extLst>
              </a:tr>
              <a:tr h="0">
                <a:tc vMerge="1">
                  <a:txBody>
                    <a:bodyPr/>
                    <a:lstStyle/>
                    <a:p>
                      <a:endParaRPr lang="en-US"/>
                    </a:p>
                  </a:txBody>
                  <a:tcPr/>
                </a:tc>
                <a:tc rowSpan="2">
                  <a:txBody>
                    <a:bodyPr/>
                    <a:lstStyle/>
                    <a:p>
                      <a:pPr algn="l" rtl="0" fontAlgn="t"/>
                      <a:r>
                        <a:rPr lang="en-US" sz="600" u="none" strike="noStrike" dirty="0">
                          <a:solidFill>
                            <a:srgbClr val="4A4A4A"/>
                          </a:solidFill>
                          <a:effectLst/>
                        </a:rPr>
                        <a:t>Support vessels propellers getting entangled with hawser</a:t>
                      </a:r>
                    </a:p>
                  </a:txBody>
                  <a:tcPr marL="45720" marR="4572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rtl="0" fontAlgn="t"/>
                      <a:r>
                        <a:rPr lang="en-US" sz="600" u="none" strike="noStrike" dirty="0">
                          <a:solidFill>
                            <a:srgbClr val="4A4A4A"/>
                          </a:solidFill>
                          <a:effectLst/>
                        </a:rPr>
                        <a:t>Human error during mooring ops</a:t>
                      </a:r>
                      <a:endParaRPr lang="en-US" sz="600" b="0" i="0" u="none" strike="noStrike" dirty="0">
                        <a:solidFill>
                          <a:srgbClr val="4A4A4A"/>
                        </a:solidFill>
                        <a:effectLst/>
                        <a:latin typeface="+mn-lt"/>
                      </a:endParaRPr>
                    </a:p>
                  </a:txBody>
                  <a:tcPr marL="45720" marR="4572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rtl="0" fontAlgn="t"/>
                      <a:r>
                        <a:rPr lang="en-US" sz="600" u="none" strike="noStrike" dirty="0">
                          <a:solidFill>
                            <a:srgbClr val="4A4A4A"/>
                          </a:solidFill>
                          <a:effectLst/>
                        </a:rPr>
                        <a:t>Limited experience/capability of vessel captain.</a:t>
                      </a:r>
                      <a:endParaRPr lang="en-US" sz="600" b="0" i="0" u="none" strike="noStrike" dirty="0">
                        <a:solidFill>
                          <a:srgbClr val="4A4A4A"/>
                        </a:solidFill>
                        <a:effectLst/>
                        <a:latin typeface="+mn-lt"/>
                      </a:endParaRPr>
                    </a:p>
                  </a:txBody>
                  <a:tcPr marL="45720" marR="45720">
                    <a:lnL w="12700" cmpd="sng">
                      <a:noFill/>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199204961"/>
                  </a:ext>
                </a:extLst>
              </a:tr>
              <a:tr h="0">
                <a:tc vMerge="1">
                  <a:txBody>
                    <a:bodyPr/>
                    <a:lstStyle/>
                    <a:p>
                      <a:endParaRPr lang="en-US"/>
                    </a:p>
                  </a:txBody>
                  <a:tcPr/>
                </a:tc>
                <a:tc vMerge="1">
                  <a:txBody>
                    <a:bodyPr/>
                    <a:lstStyle/>
                    <a:p>
                      <a:pPr algn="l" rtl="0" fontAlgn="t"/>
                      <a:r>
                        <a:rPr lang="en-US" sz="700" u="none" strike="noStrike" dirty="0">
                          <a:solidFill>
                            <a:srgbClr val="4A4A4A"/>
                          </a:solidFill>
                          <a:effectLst/>
                        </a:rPr>
                        <a:t> </a:t>
                      </a:r>
                      <a:endParaRPr lang="en-US" sz="700" b="0" i="0" u="none" strike="noStrike" dirty="0">
                        <a:solidFill>
                          <a:srgbClr val="4A4A4A"/>
                        </a:solidFill>
                        <a:effectLst/>
                        <a:latin typeface="+mn-lt"/>
                      </a:endParaRPr>
                    </a:p>
                  </a:txBody>
                  <a:tcPr marL="45720" marR="4572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E9DBEB"/>
                    </a:solidFill>
                  </a:tcPr>
                </a:tc>
                <a:tc>
                  <a:txBody>
                    <a:bodyPr/>
                    <a:lstStyle/>
                    <a:p>
                      <a:pPr algn="l" rtl="0" fontAlgn="t"/>
                      <a:r>
                        <a:rPr lang="en-US" sz="600" u="none" strike="noStrike" dirty="0">
                          <a:solidFill>
                            <a:srgbClr val="4A4A4A"/>
                          </a:solidFill>
                          <a:effectLst/>
                        </a:rPr>
                        <a:t>Adverse weather condition.</a:t>
                      </a:r>
                      <a:endParaRPr lang="en-US" sz="600" b="0" i="0" u="none" strike="noStrike" dirty="0">
                        <a:solidFill>
                          <a:srgbClr val="4A4A4A"/>
                        </a:solidFill>
                        <a:effectLst/>
                        <a:latin typeface="+mn-lt"/>
                      </a:endParaRPr>
                    </a:p>
                  </a:txBody>
                  <a:tcPr marL="45720" marR="4572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fontAlgn="t"/>
                      <a:r>
                        <a:rPr lang="en-US" sz="600" u="none" strike="noStrike" dirty="0">
                          <a:solidFill>
                            <a:srgbClr val="4A4A4A"/>
                          </a:solidFill>
                          <a:effectLst/>
                        </a:rPr>
                        <a:t> </a:t>
                      </a:r>
                      <a:endParaRPr lang="en-US" sz="600" b="0" i="0" u="none" strike="noStrike" dirty="0">
                        <a:solidFill>
                          <a:srgbClr val="4A4A4A"/>
                        </a:solidFill>
                        <a:effectLst/>
                        <a:latin typeface="+mn-lt"/>
                      </a:endParaRPr>
                    </a:p>
                  </a:txBody>
                  <a:tcPr marL="45720" marR="45720">
                    <a:lnL w="12700" cmpd="sng">
                      <a:noFill/>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752786441"/>
                  </a:ext>
                </a:extLst>
              </a:tr>
              <a:tr h="145117">
                <a:tc vMerge="1">
                  <a:txBody>
                    <a:bodyPr/>
                    <a:lstStyle/>
                    <a:p>
                      <a:endParaRPr lang="en-US"/>
                    </a:p>
                  </a:txBody>
                  <a:tcPr/>
                </a:tc>
                <a:tc>
                  <a:txBody>
                    <a:bodyPr/>
                    <a:lstStyle/>
                    <a:p>
                      <a:pPr algn="l" rtl="0" fontAlgn="t"/>
                      <a:r>
                        <a:rPr lang="en-US" sz="600" u="none" strike="noStrike" dirty="0">
                          <a:solidFill>
                            <a:srgbClr val="4A4A4A"/>
                          </a:solidFill>
                          <a:effectLst/>
                        </a:rPr>
                        <a:t>Delayed Tanker Inward clearance.</a:t>
                      </a:r>
                      <a:endParaRPr lang="en-US" sz="600" b="0" i="0" u="none" strike="noStrike" dirty="0">
                        <a:solidFill>
                          <a:srgbClr val="4A4A4A"/>
                        </a:solidFill>
                        <a:effectLst/>
                        <a:latin typeface="+mn-lt"/>
                      </a:endParaRPr>
                    </a:p>
                  </a:txBody>
                  <a:tcPr marL="45720" marR="4572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rtl="0" fontAlgn="t"/>
                      <a:r>
                        <a:rPr lang="en-US" sz="600" u="none" strike="noStrike" dirty="0">
                          <a:solidFill>
                            <a:srgbClr val="4A4A4A"/>
                          </a:solidFill>
                          <a:effectLst/>
                        </a:rPr>
                        <a:t>Unavailability of PC to convey officials to embark/disembark vessel.</a:t>
                      </a:r>
                      <a:endParaRPr lang="en-US" sz="600" b="0" i="0" u="none" strike="noStrike" dirty="0">
                        <a:solidFill>
                          <a:srgbClr val="4A4A4A"/>
                        </a:solidFill>
                        <a:effectLst/>
                        <a:latin typeface="+mn-lt"/>
                      </a:endParaRPr>
                    </a:p>
                  </a:txBody>
                  <a:tcPr marL="45720" marR="4572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fontAlgn="t"/>
                      <a:r>
                        <a:rPr lang="en-US" sz="600" u="none" strike="noStrike" dirty="0">
                          <a:solidFill>
                            <a:srgbClr val="4A4A4A"/>
                          </a:solidFill>
                          <a:effectLst/>
                        </a:rPr>
                        <a:t>Activities requiring PC movement is subject to arduous scheduling with little flexibility. When the sole PC is reassigned to other activities based on prioritization, this has resulted in delayed disembarking of officials with resultant delay in tanker inward clearance.</a:t>
                      </a:r>
                      <a:endParaRPr lang="en-US" sz="600" b="0" i="0" u="none" strike="noStrike" dirty="0">
                        <a:solidFill>
                          <a:srgbClr val="4A4A4A"/>
                        </a:solidFill>
                        <a:effectLst/>
                        <a:latin typeface="+mn-lt"/>
                      </a:endParaRPr>
                    </a:p>
                  </a:txBody>
                  <a:tcPr marL="45720" marR="45720">
                    <a:lnL w="12700" cmpd="sng">
                      <a:noFill/>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640775534"/>
                  </a:ext>
                </a:extLst>
              </a:tr>
              <a:tr h="0">
                <a:tc vMerge="1">
                  <a:txBody>
                    <a:bodyPr/>
                    <a:lstStyle/>
                    <a:p>
                      <a:endParaRPr lang="en-US"/>
                    </a:p>
                  </a:txBody>
                  <a:tcPr/>
                </a:tc>
                <a:tc>
                  <a:txBody>
                    <a:bodyPr/>
                    <a:lstStyle/>
                    <a:p>
                      <a:pPr algn="l" rtl="0" fontAlgn="t"/>
                      <a:r>
                        <a:rPr lang="en-US" sz="600" u="none" strike="noStrike" dirty="0">
                          <a:solidFill>
                            <a:srgbClr val="4A4A4A"/>
                          </a:solidFill>
                          <a:effectLst/>
                        </a:rPr>
                        <a:t>Delayed Regulatory clearance</a:t>
                      </a:r>
                      <a:endParaRPr lang="en-US" sz="600" b="0" i="0" u="none" strike="noStrike" dirty="0">
                        <a:solidFill>
                          <a:srgbClr val="4A4A4A"/>
                        </a:solidFill>
                        <a:effectLst/>
                        <a:latin typeface="+mn-lt"/>
                      </a:endParaRPr>
                    </a:p>
                  </a:txBody>
                  <a:tcPr marL="45720" marR="4572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rtl="0" fontAlgn="t"/>
                      <a:r>
                        <a:rPr lang="en-US" sz="600" u="none" strike="noStrike" dirty="0">
                          <a:solidFill>
                            <a:srgbClr val="4A4A4A"/>
                          </a:solidFill>
                          <a:effectLst/>
                        </a:rPr>
                        <a:t>NUPRC, NNPC Plc issuing clearance after delay between vessel nomination: documentary instruction for SWEST parcels.</a:t>
                      </a:r>
                      <a:endParaRPr lang="en-US" sz="600" b="0" i="0" u="none" strike="noStrike" dirty="0">
                        <a:solidFill>
                          <a:srgbClr val="4A4A4A"/>
                        </a:solidFill>
                        <a:effectLst/>
                        <a:latin typeface="+mn-lt"/>
                      </a:endParaRPr>
                    </a:p>
                  </a:txBody>
                  <a:tcPr marL="45720" marR="4572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fontAlgn="t"/>
                      <a:r>
                        <a:rPr lang="en-US" sz="600" u="none" strike="noStrike" dirty="0">
                          <a:solidFill>
                            <a:srgbClr val="4A4A4A"/>
                          </a:solidFill>
                          <a:effectLst/>
                        </a:rPr>
                        <a:t> </a:t>
                      </a:r>
                      <a:endParaRPr lang="en-US" sz="600" b="0" i="0" u="none" strike="noStrike" dirty="0">
                        <a:solidFill>
                          <a:srgbClr val="4A4A4A"/>
                        </a:solidFill>
                        <a:effectLst/>
                        <a:latin typeface="+mn-lt"/>
                      </a:endParaRPr>
                    </a:p>
                  </a:txBody>
                  <a:tcPr marL="45720" marR="45720">
                    <a:lnL w="12700" cmpd="sng">
                      <a:noFill/>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427733670"/>
                  </a:ext>
                </a:extLst>
              </a:tr>
              <a:tr h="0">
                <a:tc vMerge="1">
                  <a:txBody>
                    <a:bodyPr/>
                    <a:lstStyle/>
                    <a:p>
                      <a:endParaRPr lang="en-US"/>
                    </a:p>
                  </a:txBody>
                  <a:tcPr/>
                </a:tc>
                <a:tc>
                  <a:txBody>
                    <a:bodyPr/>
                    <a:lstStyle/>
                    <a:p>
                      <a:pPr algn="l" fontAlgn="t"/>
                      <a:r>
                        <a:rPr lang="en-US" sz="600" u="none" strike="noStrike" dirty="0">
                          <a:solidFill>
                            <a:srgbClr val="4A4A4A"/>
                          </a:solidFill>
                          <a:effectLst/>
                        </a:rPr>
                        <a:t>Adverse Weather</a:t>
                      </a:r>
                      <a:endParaRPr lang="en-US" sz="600" b="0" i="0" u="none" strike="noStrike" dirty="0">
                        <a:solidFill>
                          <a:srgbClr val="4A4A4A"/>
                        </a:solidFill>
                        <a:effectLst/>
                        <a:latin typeface="+mn-lt"/>
                      </a:endParaRPr>
                    </a:p>
                  </a:txBody>
                  <a:tcPr marL="45720" marR="4572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rtl="0" fontAlgn="t"/>
                      <a:r>
                        <a:rPr lang="en-US" sz="600" u="none" strike="noStrike" dirty="0">
                          <a:solidFill>
                            <a:srgbClr val="4A4A4A"/>
                          </a:solidFill>
                          <a:effectLst/>
                        </a:rPr>
                        <a:t>Unable to berth on TCMS or SBM during adverse weather conditions beyond permissible limits.</a:t>
                      </a:r>
                      <a:endParaRPr lang="en-US" sz="600" b="0" i="0" u="none" strike="noStrike" dirty="0">
                        <a:solidFill>
                          <a:srgbClr val="4A4A4A"/>
                        </a:solidFill>
                        <a:effectLst/>
                        <a:latin typeface="+mn-lt"/>
                      </a:endParaRPr>
                    </a:p>
                  </a:txBody>
                  <a:tcPr marL="45720" marR="4572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fontAlgn="t"/>
                      <a:r>
                        <a:rPr lang="en-US" sz="600" u="none" strike="noStrike" dirty="0">
                          <a:solidFill>
                            <a:srgbClr val="4A4A4A"/>
                          </a:solidFill>
                          <a:effectLst/>
                        </a:rPr>
                        <a:t> </a:t>
                      </a:r>
                      <a:endParaRPr lang="en-US" sz="600" b="0" i="0" u="none" strike="noStrike" dirty="0">
                        <a:solidFill>
                          <a:srgbClr val="4A4A4A"/>
                        </a:solidFill>
                        <a:effectLst/>
                        <a:latin typeface="+mn-lt"/>
                      </a:endParaRPr>
                    </a:p>
                  </a:txBody>
                  <a:tcPr marL="45720" marR="45720">
                    <a:lnL w="12700" cmpd="sng">
                      <a:noFill/>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74864960"/>
                  </a:ext>
                </a:extLst>
              </a:tr>
              <a:tr h="241862">
                <a:tc vMerge="1">
                  <a:txBody>
                    <a:bodyPr/>
                    <a:lstStyle/>
                    <a:p>
                      <a:endParaRPr lang="en-US"/>
                    </a:p>
                  </a:txBody>
                  <a:tcPr/>
                </a:tc>
                <a:tc>
                  <a:txBody>
                    <a:bodyPr/>
                    <a:lstStyle/>
                    <a:p>
                      <a:pPr algn="l" rtl="0" fontAlgn="t"/>
                      <a:r>
                        <a:rPr lang="en-US" sz="600" u="none" strike="noStrike" dirty="0">
                          <a:solidFill>
                            <a:srgbClr val="4A4A4A"/>
                          </a:solidFill>
                          <a:effectLst/>
                        </a:rPr>
                        <a:t>Daylight constraints</a:t>
                      </a:r>
                      <a:endParaRPr lang="en-US" sz="600" b="0" i="0" u="none" strike="noStrike" dirty="0">
                        <a:solidFill>
                          <a:srgbClr val="4A4A4A"/>
                        </a:solidFill>
                        <a:effectLst/>
                        <a:latin typeface="+mn-lt"/>
                      </a:endParaRPr>
                    </a:p>
                  </a:txBody>
                  <a:tcPr marL="45720" marR="4572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rtl="0" fontAlgn="t"/>
                      <a:r>
                        <a:rPr lang="en-US" sz="600" u="none" strike="noStrike" dirty="0">
                          <a:solidFill>
                            <a:srgbClr val="4A4A4A"/>
                          </a:solidFill>
                          <a:effectLst/>
                        </a:rPr>
                        <a:t>Terminals are set up contractually as 24hr, whereas vessels are limited to daylight sailing.</a:t>
                      </a:r>
                      <a:br>
                        <a:rPr lang="en-US" sz="600" u="none" strike="noStrike" dirty="0">
                          <a:solidFill>
                            <a:srgbClr val="4A4A4A"/>
                          </a:solidFill>
                          <a:effectLst/>
                        </a:rPr>
                      </a:br>
                      <a:r>
                        <a:rPr lang="en-US" sz="600" u="none" strike="noStrike" dirty="0">
                          <a:solidFill>
                            <a:srgbClr val="4A4A4A"/>
                          </a:solidFill>
                          <a:effectLst/>
                        </a:rPr>
                        <a:t>Vessels can tender Notice of Readiness at any time within the laycan.</a:t>
                      </a:r>
                      <a:br>
                        <a:rPr lang="en-US" sz="600" u="none" strike="noStrike" dirty="0">
                          <a:solidFill>
                            <a:srgbClr val="4A4A4A"/>
                          </a:solidFill>
                          <a:effectLst/>
                        </a:rPr>
                      </a:br>
                      <a:r>
                        <a:rPr lang="en-US" sz="600" u="none" strike="noStrike" dirty="0">
                          <a:solidFill>
                            <a:srgbClr val="4A4A4A"/>
                          </a:solidFill>
                          <a:effectLst/>
                        </a:rPr>
                        <a:t>BOGT - GOs -Customs, NIS, Port Health, NDLEA- reside outside the terminal and are available in the day time.</a:t>
                      </a:r>
                      <a:endParaRPr lang="en-US" sz="600" b="0" i="0" u="none" strike="noStrike" dirty="0">
                        <a:solidFill>
                          <a:srgbClr val="4A4A4A"/>
                        </a:solidFill>
                        <a:effectLst/>
                        <a:latin typeface="+mn-lt"/>
                      </a:endParaRPr>
                    </a:p>
                  </a:txBody>
                  <a:tcPr marL="45720" marR="4572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fontAlgn="t"/>
                      <a:r>
                        <a:rPr lang="en-US" sz="600" u="none" strike="noStrike" dirty="0">
                          <a:solidFill>
                            <a:srgbClr val="4A4A4A"/>
                          </a:solidFill>
                          <a:effectLst/>
                        </a:rPr>
                        <a:t>Security concerns for night sailing.</a:t>
                      </a:r>
                      <a:br>
                        <a:rPr lang="en-US" sz="600" u="none" strike="noStrike" dirty="0">
                          <a:solidFill>
                            <a:srgbClr val="4A4A4A"/>
                          </a:solidFill>
                          <a:effectLst/>
                        </a:rPr>
                      </a:br>
                      <a:r>
                        <a:rPr lang="en-US" sz="600" u="none" strike="noStrike" dirty="0">
                          <a:solidFill>
                            <a:srgbClr val="4A4A4A"/>
                          </a:solidFill>
                          <a:effectLst/>
                        </a:rPr>
                        <a:t>Safety concern: River channel is unlit - absence buoys indicating the safe waters for vessels to prevent running aground. E.g. Presence of shipwreck in river channel</a:t>
                      </a:r>
                      <a:br>
                        <a:rPr lang="en-US" sz="600" u="none" strike="noStrike" dirty="0">
                          <a:solidFill>
                            <a:srgbClr val="4A4A4A"/>
                          </a:solidFill>
                          <a:effectLst/>
                        </a:rPr>
                      </a:br>
                      <a:r>
                        <a:rPr lang="en-US" sz="600" u="none" strike="noStrike" dirty="0">
                          <a:solidFill>
                            <a:srgbClr val="4A4A4A"/>
                          </a:solidFill>
                          <a:effectLst/>
                        </a:rPr>
                        <a:t>Safety concern: Fouling of the propellers by fishing nets; Fishing activities.</a:t>
                      </a:r>
                      <a:endParaRPr lang="en-US" sz="600" b="0" i="0" u="none" strike="noStrike" dirty="0">
                        <a:solidFill>
                          <a:srgbClr val="4A4A4A"/>
                        </a:solidFill>
                        <a:effectLst/>
                        <a:latin typeface="+mn-lt"/>
                      </a:endParaRPr>
                    </a:p>
                  </a:txBody>
                  <a:tcPr marL="45720" marR="45720">
                    <a:lnL w="12700" cmpd="sng">
                      <a:noFill/>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345686514"/>
                  </a:ext>
                </a:extLst>
              </a:tr>
              <a:tr h="145117">
                <a:tc vMerge="1">
                  <a:txBody>
                    <a:bodyPr/>
                    <a:lstStyle/>
                    <a:p>
                      <a:endParaRPr lang="en-US"/>
                    </a:p>
                  </a:txBody>
                  <a:tcPr/>
                </a:tc>
                <a:tc>
                  <a:txBody>
                    <a:bodyPr/>
                    <a:lstStyle/>
                    <a:p>
                      <a:pPr algn="l" rtl="0" fontAlgn="t"/>
                      <a:r>
                        <a:rPr lang="en-US" sz="600" u="none" strike="noStrike">
                          <a:solidFill>
                            <a:srgbClr val="4A4A4A"/>
                          </a:solidFill>
                          <a:effectLst/>
                        </a:rPr>
                        <a:t>Berth occupied.</a:t>
                      </a:r>
                      <a:endParaRPr lang="en-US" sz="600" b="0" i="0" u="none" strike="noStrike">
                        <a:solidFill>
                          <a:srgbClr val="4A4A4A"/>
                        </a:solidFill>
                        <a:effectLst/>
                        <a:latin typeface="+mn-lt"/>
                      </a:endParaRPr>
                    </a:p>
                  </a:txBody>
                  <a:tcPr marL="45720" marR="4572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2">
                  <a:txBody>
                    <a:bodyPr/>
                    <a:lstStyle/>
                    <a:p>
                      <a:pPr algn="l" rtl="0" fontAlgn="t"/>
                      <a:r>
                        <a:rPr lang="en-US" sz="600" u="none" strike="noStrike" dirty="0">
                          <a:solidFill>
                            <a:srgbClr val="4A4A4A"/>
                          </a:solidFill>
                          <a:effectLst/>
                        </a:rPr>
                        <a:t>Disruption of tanker </a:t>
                      </a:r>
                      <a:r>
                        <a:rPr lang="en-US" sz="600" u="none" strike="noStrike" dirty="0" err="1">
                          <a:solidFill>
                            <a:srgbClr val="4A4A4A"/>
                          </a:solidFill>
                          <a:effectLst/>
                        </a:rPr>
                        <a:t>schedulefor</a:t>
                      </a:r>
                      <a:r>
                        <a:rPr lang="en-US" sz="600" u="none" strike="noStrike" dirty="0">
                          <a:solidFill>
                            <a:srgbClr val="4A4A4A"/>
                          </a:solidFill>
                          <a:effectLst/>
                        </a:rPr>
                        <a:t> all other previous causes.</a:t>
                      </a:r>
                      <a:br>
                        <a:rPr lang="en-US" sz="600" u="none" strike="noStrike" dirty="0">
                          <a:solidFill>
                            <a:srgbClr val="4A4A4A"/>
                          </a:solidFill>
                          <a:effectLst/>
                        </a:rPr>
                      </a:br>
                      <a:r>
                        <a:rPr lang="en-US" sz="600" u="none" strike="noStrike" dirty="0">
                          <a:solidFill>
                            <a:srgbClr val="4A4A4A"/>
                          </a:solidFill>
                          <a:effectLst/>
                        </a:rPr>
                        <a:t>Delay in concluding </a:t>
                      </a:r>
                      <a:r>
                        <a:rPr lang="en-US" sz="600" u="none" strike="noStrike" dirty="0" err="1">
                          <a:solidFill>
                            <a:srgbClr val="4A4A4A"/>
                          </a:solidFill>
                          <a:effectLst/>
                        </a:rPr>
                        <a:t>preceeding</a:t>
                      </a:r>
                      <a:r>
                        <a:rPr lang="en-US" sz="600" u="none" strike="noStrike" dirty="0">
                          <a:solidFill>
                            <a:srgbClr val="4A4A4A"/>
                          </a:solidFill>
                          <a:effectLst/>
                        </a:rPr>
                        <a:t> tanker's export documentation after offtake- experienced more with some NUPRC officials.</a:t>
                      </a:r>
                    </a:p>
                  </a:txBody>
                  <a:tcPr marL="45720" marR="45720">
                    <a:lnL w="12700" cmpd="sng">
                      <a:noFill/>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l" fontAlgn="t"/>
                      <a:r>
                        <a:rPr lang="en-US" sz="700" u="none" strike="noStrike" dirty="0">
                          <a:solidFill>
                            <a:srgbClr val="4A4A4A"/>
                          </a:solidFill>
                          <a:effectLst/>
                        </a:rPr>
                        <a:t> </a:t>
                      </a:r>
                      <a:endParaRPr lang="en-US" sz="700" b="0" i="0" u="none" strike="noStrike" dirty="0">
                        <a:solidFill>
                          <a:srgbClr val="4A4A4A"/>
                        </a:solidFill>
                        <a:effectLst/>
                        <a:latin typeface="+mn-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9DBEB"/>
                    </a:solidFill>
                  </a:tcPr>
                </a:tc>
                <a:extLst>
                  <a:ext uri="{0D108BD9-81ED-4DB2-BD59-A6C34878D82A}">
                    <a16:rowId xmlns:a16="http://schemas.microsoft.com/office/drawing/2014/main" val="866306509"/>
                  </a:ext>
                </a:extLst>
              </a:tr>
              <a:tr h="0">
                <a:tc rowSpan="10">
                  <a:txBody>
                    <a:bodyPr/>
                    <a:lstStyle/>
                    <a:p>
                      <a:pPr algn="l" rtl="0" fontAlgn="t"/>
                      <a:r>
                        <a:rPr lang="en-US" sz="600" u="none" strike="noStrike" dirty="0">
                          <a:solidFill>
                            <a:srgbClr val="4A4A4A"/>
                          </a:solidFill>
                          <a:effectLst/>
                        </a:rPr>
                        <a:t>Awaiting</a:t>
                      </a:r>
                    </a:p>
                    <a:p>
                      <a:pPr algn="l" rtl="0" fontAlgn="t"/>
                      <a:r>
                        <a:rPr lang="en-US" sz="600" u="none" strike="noStrike" dirty="0">
                          <a:solidFill>
                            <a:srgbClr val="4A4A4A"/>
                          </a:solidFill>
                          <a:effectLst/>
                        </a:rPr>
                        <a:t>Cargo</a:t>
                      </a:r>
                      <a:endParaRPr lang="en-US" sz="600" b="0" i="0" u="none" strike="noStrike" dirty="0">
                        <a:solidFill>
                          <a:srgbClr val="4A4A4A"/>
                        </a:solidFill>
                        <a:effectLst/>
                        <a:latin typeface="+mn-lt"/>
                      </a:endParaRPr>
                    </a:p>
                  </a:txBody>
                  <a:tcPr marL="45720" marR="45720">
                    <a:lnL w="6350" cap="flat" cmpd="sng" algn="ctr">
                      <a:solidFill>
                        <a:schemeClr val="tx2"/>
                      </a:solidFill>
                      <a:prstDash val="solid"/>
                      <a:round/>
                      <a:headEnd type="none" w="med" len="med"/>
                      <a:tailEnd type="none" w="med" len="med"/>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t"/>
                      <a:r>
                        <a:rPr lang="en-US" sz="600" u="none" strike="noStrike" dirty="0">
                          <a:solidFill>
                            <a:srgbClr val="4A4A4A"/>
                          </a:solidFill>
                          <a:effectLst/>
                        </a:rPr>
                        <a:t>Protracted cargo preparation time.</a:t>
                      </a:r>
                      <a:endParaRPr lang="en-US" sz="600" b="0" i="0" u="none" strike="noStrike" dirty="0">
                        <a:solidFill>
                          <a:srgbClr val="4A4A4A"/>
                        </a:solidFill>
                        <a:effectLst/>
                        <a:latin typeface="+mn-lt"/>
                      </a:endParaRPr>
                    </a:p>
                  </a:txBody>
                  <a:tcPr marL="45720" marR="45720">
                    <a:lnL w="12700" cmpd="sng">
                      <a:noFill/>
                    </a:lnL>
                    <a:lnR w="12700" cmpd="sng">
                      <a:noFill/>
                    </a:lnR>
                    <a:lnT w="635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rowSpan="2">
                  <a:txBody>
                    <a:bodyPr/>
                    <a:lstStyle/>
                    <a:p>
                      <a:pPr algn="l" rtl="0" fontAlgn="t"/>
                      <a:r>
                        <a:rPr lang="en-US" sz="600" u="none" strike="noStrike" dirty="0">
                          <a:solidFill>
                            <a:srgbClr val="4A4A4A"/>
                          </a:solidFill>
                          <a:effectLst/>
                        </a:rPr>
                        <a:t>1.Low/No Receipt</a:t>
                      </a:r>
                    </a:p>
                  </a:txBody>
                  <a:tcPr marL="45720" marR="4572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600" u="none" strike="noStrike" dirty="0">
                          <a:solidFill>
                            <a:srgbClr val="4A4A4A"/>
                          </a:solidFill>
                          <a:effectLst/>
                        </a:rPr>
                        <a:t>Receipt unpredictability e.g. UPS or upstream facilities issues</a:t>
                      </a:r>
                      <a:endParaRPr lang="en-US" sz="600" b="0" i="0" u="none" strike="noStrike" dirty="0">
                        <a:solidFill>
                          <a:srgbClr val="4A4A4A"/>
                        </a:solidFill>
                        <a:effectLst/>
                        <a:latin typeface="+mn-lt"/>
                      </a:endParaRPr>
                    </a:p>
                  </a:txBody>
                  <a:tcPr marL="45720" marR="45720">
                    <a:lnL w="12700" cmpd="sng">
                      <a:noFill/>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2580784"/>
                  </a:ext>
                </a:extLst>
              </a:tr>
              <a:tr h="0">
                <a:tc vMerge="1">
                  <a:txBody>
                    <a:bodyPr/>
                    <a:lstStyle/>
                    <a:p>
                      <a:endParaRPr lang="en-US"/>
                    </a:p>
                  </a:txBody>
                  <a:tcPr/>
                </a:tc>
                <a:tc>
                  <a:txBody>
                    <a:bodyPr/>
                    <a:lstStyle/>
                    <a:p>
                      <a:pPr algn="l" rtl="0" fontAlgn="t"/>
                      <a:r>
                        <a:rPr lang="en-US" sz="600" u="none" strike="noStrike" dirty="0">
                          <a:solidFill>
                            <a:srgbClr val="4A4A4A"/>
                          </a:solidFill>
                          <a:effectLst/>
                        </a:rPr>
                        <a:t> </a:t>
                      </a:r>
                      <a:endParaRPr lang="en-US" sz="600" b="0" i="0" u="none" strike="noStrike" dirty="0">
                        <a:solidFill>
                          <a:srgbClr val="4A4A4A"/>
                        </a:solidFill>
                        <a:effectLst/>
                        <a:latin typeface="+mn-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pPr algn="l" rtl="0" fontAlgn="t"/>
                      <a:r>
                        <a:rPr lang="en-US" sz="500" u="none" strike="noStrike" dirty="0">
                          <a:solidFill>
                            <a:srgbClr val="4A4A4A"/>
                          </a:solidFill>
                          <a:effectLst/>
                        </a:rPr>
                        <a:t> </a:t>
                      </a:r>
                      <a:endParaRPr lang="en-US" sz="500" b="0" i="0" u="none" strike="noStrike" dirty="0">
                        <a:solidFill>
                          <a:srgbClr val="4A4A4A"/>
                        </a:solidFill>
                        <a:effectLst/>
                        <a:latin typeface="+mn-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t"/>
                      <a:r>
                        <a:rPr lang="en-US" sz="600" u="none" strike="noStrike" dirty="0">
                          <a:solidFill>
                            <a:srgbClr val="4A4A4A"/>
                          </a:solidFill>
                          <a:effectLst/>
                        </a:rPr>
                        <a:t>Unscheduled unavailability of trunklines - TNP, TFP e.g. Sabotage etc.</a:t>
                      </a:r>
                      <a:endParaRPr lang="en-US" sz="600" b="0" i="0" u="none" strike="noStrike" dirty="0">
                        <a:solidFill>
                          <a:srgbClr val="4A4A4A"/>
                        </a:solidFill>
                        <a:effectLst/>
                        <a:latin typeface="+mn-lt"/>
                      </a:endParaRPr>
                    </a:p>
                  </a:txBody>
                  <a:tcPr marL="45720" marR="45720">
                    <a:lnL w="12700" cmpd="sng">
                      <a:noFill/>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9756091"/>
                  </a:ext>
                </a:extLst>
              </a:tr>
              <a:tr h="193490">
                <a:tc vMerge="1">
                  <a:txBody>
                    <a:bodyPr/>
                    <a:lstStyle/>
                    <a:p>
                      <a:endParaRPr lang="en-US"/>
                    </a:p>
                  </a:txBody>
                  <a:tcPr/>
                </a:tc>
                <a:tc>
                  <a:txBody>
                    <a:bodyPr/>
                    <a:lstStyle/>
                    <a:p>
                      <a:pPr algn="l" rtl="0" fontAlgn="t"/>
                      <a:r>
                        <a:rPr lang="en-US" sz="600" u="none" strike="noStrike">
                          <a:solidFill>
                            <a:srgbClr val="4A4A4A"/>
                          </a:solidFill>
                          <a:effectLst/>
                        </a:rPr>
                        <a:t> </a:t>
                      </a:r>
                      <a:endParaRPr lang="en-US" sz="600" b="0" i="0" u="none" strike="noStrike">
                        <a:solidFill>
                          <a:srgbClr val="4A4A4A"/>
                        </a:solidFill>
                        <a:effectLst/>
                        <a:latin typeface="+mn-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rtl="0" fontAlgn="t"/>
                      <a:r>
                        <a:rPr lang="en-US" sz="600" u="none" strike="noStrike" dirty="0">
                          <a:solidFill>
                            <a:srgbClr val="4A4A4A"/>
                          </a:solidFill>
                          <a:effectLst/>
                        </a:rPr>
                        <a:t>2.Inadequate Ullage - FOT</a:t>
                      </a:r>
                      <a:endParaRPr lang="en-US" sz="600" b="0" i="0" u="none" strike="noStrike" dirty="0">
                        <a:solidFill>
                          <a:srgbClr val="4A4A4A"/>
                        </a:solidFill>
                        <a:effectLst/>
                        <a:latin typeface="+mn-lt"/>
                      </a:endParaRPr>
                    </a:p>
                  </a:txBody>
                  <a:tcPr marL="45720" marR="4572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600" u="none" strike="noStrike" dirty="0">
                          <a:solidFill>
                            <a:srgbClr val="4A4A4A"/>
                          </a:solidFill>
                          <a:effectLst/>
                        </a:rPr>
                        <a:t>Available ullage vs design capacity vs receipt:  5CSTs vs 9CSTs</a:t>
                      </a:r>
                      <a:br>
                        <a:rPr lang="en-US" sz="600" u="none" strike="noStrike" dirty="0">
                          <a:solidFill>
                            <a:srgbClr val="4A4A4A"/>
                          </a:solidFill>
                          <a:effectLst/>
                        </a:rPr>
                      </a:br>
                      <a:r>
                        <a:rPr lang="en-US" sz="600" u="none" strike="noStrike" dirty="0">
                          <a:solidFill>
                            <a:srgbClr val="4A4A4A"/>
                          </a:solidFill>
                          <a:effectLst/>
                        </a:rPr>
                        <a:t>Tanker programming has little room for flexibility. Tank top (leading to production cutbacks)</a:t>
                      </a:r>
                      <a:br>
                        <a:rPr lang="en-US" sz="600" u="none" strike="noStrike" dirty="0">
                          <a:solidFill>
                            <a:srgbClr val="4A4A4A"/>
                          </a:solidFill>
                          <a:effectLst/>
                        </a:rPr>
                      </a:br>
                      <a:r>
                        <a:rPr lang="en-US" sz="600" u="none" strike="noStrike" dirty="0">
                          <a:solidFill>
                            <a:srgbClr val="4A4A4A"/>
                          </a:solidFill>
                          <a:effectLst/>
                        </a:rPr>
                        <a:t>Tank bottom - demurrage outcome</a:t>
                      </a:r>
                      <a:endParaRPr lang="en-US" sz="600" b="0" i="0" u="none" strike="noStrike" dirty="0">
                        <a:solidFill>
                          <a:srgbClr val="4A4A4A"/>
                        </a:solidFill>
                        <a:effectLst/>
                        <a:latin typeface="+mn-lt"/>
                      </a:endParaRPr>
                    </a:p>
                  </a:txBody>
                  <a:tcPr marL="45720" marR="45720">
                    <a:lnL w="12700" cmpd="sng">
                      <a:noFill/>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0474333"/>
                  </a:ext>
                </a:extLst>
              </a:tr>
              <a:tr h="0">
                <a:tc vMerge="1">
                  <a:txBody>
                    <a:bodyPr/>
                    <a:lstStyle/>
                    <a:p>
                      <a:endParaRPr lang="en-US"/>
                    </a:p>
                  </a:txBody>
                  <a:tcPr/>
                </a:tc>
                <a:tc>
                  <a:txBody>
                    <a:bodyPr/>
                    <a:lstStyle/>
                    <a:p>
                      <a:pPr algn="l" rtl="0" fontAlgn="t"/>
                      <a:r>
                        <a:rPr lang="en-US" sz="600" u="none" strike="noStrike">
                          <a:solidFill>
                            <a:srgbClr val="4A4A4A"/>
                          </a:solidFill>
                          <a:effectLst/>
                        </a:rPr>
                        <a:t> </a:t>
                      </a:r>
                      <a:endParaRPr lang="en-US" sz="600" b="0" i="0" u="none" strike="noStrike">
                        <a:solidFill>
                          <a:srgbClr val="4A4A4A"/>
                        </a:solidFill>
                        <a:effectLst/>
                        <a:latin typeface="+mn-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rowSpan="4">
                  <a:txBody>
                    <a:bodyPr/>
                    <a:lstStyle/>
                    <a:p>
                      <a:pPr algn="l" rtl="0" fontAlgn="t"/>
                      <a:r>
                        <a:rPr lang="en-US" sz="600" u="none" strike="noStrike" dirty="0">
                          <a:solidFill>
                            <a:srgbClr val="4A4A4A"/>
                          </a:solidFill>
                          <a:effectLst/>
                        </a:rPr>
                        <a:t>3.High Emulsion content in receipt – FOT &amp; BOGT</a:t>
                      </a:r>
                    </a:p>
                  </a:txBody>
                  <a:tcPr marL="45720" marR="4572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600" u="none" strike="noStrike" dirty="0">
                          <a:solidFill>
                            <a:srgbClr val="4A4A4A"/>
                          </a:solidFill>
                          <a:effectLst/>
                        </a:rPr>
                        <a:t>Upstream stations fail to inject sufficient </a:t>
                      </a:r>
                      <a:r>
                        <a:rPr lang="en-US" sz="600" u="none" strike="noStrike" dirty="0" err="1">
                          <a:solidFill>
                            <a:srgbClr val="4A4A4A"/>
                          </a:solidFill>
                          <a:effectLst/>
                        </a:rPr>
                        <a:t>demulsifiers</a:t>
                      </a:r>
                      <a:r>
                        <a:rPr lang="en-US" sz="600" u="none" strike="noStrike" dirty="0">
                          <a:solidFill>
                            <a:srgbClr val="4A4A4A"/>
                          </a:solidFill>
                          <a:effectLst/>
                        </a:rPr>
                        <a:t> into production stream</a:t>
                      </a:r>
                      <a:endParaRPr lang="en-US" sz="600" b="0" i="0" u="none" strike="noStrike" dirty="0">
                        <a:solidFill>
                          <a:srgbClr val="4A4A4A"/>
                        </a:solidFill>
                        <a:effectLst/>
                        <a:latin typeface="+mn-lt"/>
                      </a:endParaRPr>
                    </a:p>
                  </a:txBody>
                  <a:tcPr marL="45720" marR="45720">
                    <a:lnL w="12700" cmpd="sng">
                      <a:noFill/>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7984941"/>
                  </a:ext>
                </a:extLst>
              </a:tr>
              <a:tr h="0">
                <a:tc vMerge="1">
                  <a:txBody>
                    <a:bodyPr/>
                    <a:lstStyle/>
                    <a:p>
                      <a:endParaRPr lang="en-US"/>
                    </a:p>
                  </a:txBody>
                  <a:tcPr/>
                </a:tc>
                <a:tc>
                  <a:txBody>
                    <a:bodyPr/>
                    <a:lstStyle/>
                    <a:p>
                      <a:pPr algn="l" rtl="0" fontAlgn="t"/>
                      <a:r>
                        <a:rPr lang="en-US" sz="600" u="none" strike="noStrike" dirty="0">
                          <a:solidFill>
                            <a:srgbClr val="4A4A4A"/>
                          </a:solidFill>
                          <a:effectLst/>
                        </a:rPr>
                        <a:t> </a:t>
                      </a:r>
                      <a:endParaRPr lang="en-US" sz="600" b="0" i="0" u="none" strike="noStrike" dirty="0">
                        <a:solidFill>
                          <a:srgbClr val="4A4A4A"/>
                        </a:solidFill>
                        <a:effectLst/>
                        <a:latin typeface="+mn-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pPr algn="l" rtl="0" fontAlgn="t"/>
                      <a:r>
                        <a:rPr lang="en-US" sz="500" u="none" strike="noStrike" dirty="0">
                          <a:solidFill>
                            <a:srgbClr val="4A4A4A"/>
                          </a:solidFill>
                          <a:effectLst/>
                        </a:rPr>
                        <a:t> </a:t>
                      </a:r>
                      <a:endParaRPr lang="en-US" sz="500" b="0" i="0" u="none" strike="noStrike" dirty="0">
                        <a:solidFill>
                          <a:srgbClr val="4A4A4A"/>
                        </a:solidFill>
                        <a:effectLst/>
                        <a:latin typeface="+mn-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t"/>
                      <a:r>
                        <a:rPr lang="en-US" sz="600" u="none" strike="noStrike" dirty="0">
                          <a:solidFill>
                            <a:srgbClr val="4A4A4A"/>
                          </a:solidFill>
                          <a:effectLst/>
                        </a:rPr>
                        <a:t>High volume of Untreated water e.g. UPS</a:t>
                      </a:r>
                      <a:endParaRPr lang="en-US" sz="600" b="0" i="0" u="none" strike="noStrike" dirty="0">
                        <a:solidFill>
                          <a:srgbClr val="4A4A4A"/>
                        </a:solidFill>
                        <a:effectLst/>
                        <a:latin typeface="+mn-lt"/>
                      </a:endParaRPr>
                    </a:p>
                  </a:txBody>
                  <a:tcPr marL="45720" marR="45720">
                    <a:lnL w="12700" cmpd="sng">
                      <a:noFill/>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7249317"/>
                  </a:ext>
                </a:extLst>
              </a:tr>
              <a:tr h="0">
                <a:tc vMerge="1">
                  <a:txBody>
                    <a:bodyPr/>
                    <a:lstStyle/>
                    <a:p>
                      <a:endParaRPr lang="en-US"/>
                    </a:p>
                  </a:txBody>
                  <a:tcPr/>
                </a:tc>
                <a:tc>
                  <a:txBody>
                    <a:bodyPr/>
                    <a:lstStyle/>
                    <a:p>
                      <a:pPr algn="l" rtl="0" fontAlgn="t"/>
                      <a:r>
                        <a:rPr lang="en-US" sz="600" u="none" strike="noStrike">
                          <a:solidFill>
                            <a:srgbClr val="4A4A4A"/>
                          </a:solidFill>
                          <a:effectLst/>
                        </a:rPr>
                        <a:t> </a:t>
                      </a:r>
                      <a:endParaRPr lang="en-US" sz="600" b="0" i="0" u="none" strike="noStrike">
                        <a:solidFill>
                          <a:srgbClr val="4A4A4A"/>
                        </a:solidFill>
                        <a:effectLst/>
                        <a:latin typeface="+mn-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pPr algn="l" rtl="0" fontAlgn="t"/>
                      <a:r>
                        <a:rPr lang="en-US" sz="500" u="none" strike="noStrike" dirty="0">
                          <a:solidFill>
                            <a:srgbClr val="4A4A4A"/>
                          </a:solidFill>
                          <a:effectLst/>
                        </a:rPr>
                        <a:t> </a:t>
                      </a:r>
                      <a:endParaRPr lang="en-US" sz="500" b="0" i="0" u="none" strike="noStrike" dirty="0">
                        <a:solidFill>
                          <a:srgbClr val="4A4A4A"/>
                        </a:solidFill>
                        <a:effectLst/>
                        <a:latin typeface="+mn-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t"/>
                      <a:r>
                        <a:rPr lang="en-US" sz="600" u="none" strike="noStrike" dirty="0">
                          <a:solidFill>
                            <a:srgbClr val="4A4A4A"/>
                          </a:solidFill>
                          <a:effectLst/>
                        </a:rPr>
                        <a:t>Effluent generated into production downstream of producing facilities</a:t>
                      </a:r>
                      <a:endParaRPr lang="en-US" sz="600" b="0" i="0" u="none" strike="noStrike" dirty="0">
                        <a:solidFill>
                          <a:srgbClr val="4A4A4A"/>
                        </a:solidFill>
                        <a:effectLst/>
                        <a:latin typeface="+mn-lt"/>
                      </a:endParaRPr>
                    </a:p>
                  </a:txBody>
                  <a:tcPr marL="45720" marR="45720">
                    <a:lnL w="12700" cmpd="sng">
                      <a:noFill/>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09986774"/>
                  </a:ext>
                </a:extLst>
              </a:tr>
              <a:tr h="0">
                <a:tc vMerge="1">
                  <a:txBody>
                    <a:bodyPr/>
                    <a:lstStyle/>
                    <a:p>
                      <a:endParaRPr lang="en-US"/>
                    </a:p>
                  </a:txBody>
                  <a:tcPr/>
                </a:tc>
                <a:tc>
                  <a:txBody>
                    <a:bodyPr/>
                    <a:lstStyle/>
                    <a:p>
                      <a:pPr algn="l" rtl="0" fontAlgn="t"/>
                      <a:r>
                        <a:rPr lang="en-US" sz="600" u="none" strike="noStrike" dirty="0">
                          <a:solidFill>
                            <a:srgbClr val="4A4A4A"/>
                          </a:solidFill>
                          <a:effectLst/>
                        </a:rPr>
                        <a:t> </a:t>
                      </a:r>
                      <a:endParaRPr lang="en-US" sz="600" b="0" i="0" u="none" strike="noStrike" dirty="0">
                        <a:solidFill>
                          <a:srgbClr val="4A4A4A"/>
                        </a:solidFill>
                        <a:effectLst/>
                        <a:latin typeface="+mn-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pPr algn="l" rtl="0" fontAlgn="t"/>
                      <a:r>
                        <a:rPr lang="en-US" sz="500" u="none" strike="noStrike" dirty="0">
                          <a:solidFill>
                            <a:srgbClr val="4A4A4A"/>
                          </a:solidFill>
                          <a:effectLst/>
                        </a:rPr>
                        <a:t> </a:t>
                      </a:r>
                      <a:endParaRPr lang="en-US" sz="500" b="0" i="0" u="none" strike="noStrike" dirty="0">
                        <a:solidFill>
                          <a:srgbClr val="4A4A4A"/>
                        </a:solidFill>
                        <a:effectLst/>
                        <a:latin typeface="+mn-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t"/>
                      <a:r>
                        <a:rPr lang="en-US" sz="600" u="none" strike="noStrike" dirty="0">
                          <a:solidFill>
                            <a:srgbClr val="4A4A4A"/>
                          </a:solidFill>
                          <a:effectLst/>
                        </a:rPr>
                        <a:t>Unavailability of FOT Emulsion treatment system - Height of sludge already resident in Crude Storage tanks</a:t>
                      </a:r>
                      <a:endParaRPr lang="en-US" sz="600" b="0" i="0" u="none" strike="noStrike" dirty="0">
                        <a:solidFill>
                          <a:srgbClr val="4A4A4A"/>
                        </a:solidFill>
                        <a:effectLst/>
                        <a:latin typeface="+mn-lt"/>
                      </a:endParaRPr>
                    </a:p>
                  </a:txBody>
                  <a:tcPr marL="45720" marR="45720">
                    <a:lnL w="12700" cmpd="sng">
                      <a:noFill/>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3565397"/>
                  </a:ext>
                </a:extLst>
              </a:tr>
              <a:tr h="145117">
                <a:tc vMerge="1">
                  <a:txBody>
                    <a:bodyPr/>
                    <a:lstStyle/>
                    <a:p>
                      <a:endParaRPr lang="en-US"/>
                    </a:p>
                  </a:txBody>
                  <a:tcPr/>
                </a:tc>
                <a:tc>
                  <a:txBody>
                    <a:bodyPr/>
                    <a:lstStyle/>
                    <a:p>
                      <a:pPr algn="l" fontAlgn="t"/>
                      <a:r>
                        <a:rPr lang="en-US" sz="600" u="none" strike="noStrike">
                          <a:solidFill>
                            <a:srgbClr val="4A4A4A"/>
                          </a:solidFill>
                          <a:effectLst/>
                        </a:rPr>
                        <a:t> </a:t>
                      </a:r>
                      <a:endParaRPr lang="en-US" sz="600" b="0" i="0" u="none" strike="noStrike">
                        <a:solidFill>
                          <a:srgbClr val="4A4A4A"/>
                        </a:solidFill>
                        <a:effectLst/>
                        <a:latin typeface="+mn-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rowSpan="2">
                  <a:txBody>
                    <a:bodyPr/>
                    <a:lstStyle/>
                    <a:p>
                      <a:pPr algn="l" rtl="0" fontAlgn="t"/>
                      <a:r>
                        <a:rPr lang="en-US" sz="600" u="none" strike="noStrike" dirty="0">
                          <a:solidFill>
                            <a:srgbClr val="4A4A4A"/>
                          </a:solidFill>
                          <a:effectLst/>
                        </a:rPr>
                        <a:t>4.Quality – SBM3 intake - BOGT</a:t>
                      </a:r>
                    </a:p>
                  </a:txBody>
                  <a:tcPr marL="45720" marR="4572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600" u="none" strike="noStrike" dirty="0">
                          <a:solidFill>
                            <a:srgbClr val="4A4A4A"/>
                          </a:solidFill>
                          <a:effectLst/>
                        </a:rPr>
                        <a:t>Liquids from </a:t>
                      </a:r>
                      <a:r>
                        <a:rPr lang="en-US" sz="600" u="none" strike="noStrike" dirty="0" err="1">
                          <a:solidFill>
                            <a:srgbClr val="4A4A4A"/>
                          </a:solidFill>
                          <a:effectLst/>
                        </a:rPr>
                        <a:t>Soku</a:t>
                      </a:r>
                      <a:r>
                        <a:rPr lang="en-US" sz="600" u="none" strike="noStrike" dirty="0">
                          <a:solidFill>
                            <a:srgbClr val="4A4A4A"/>
                          </a:solidFill>
                          <a:effectLst/>
                        </a:rPr>
                        <a:t> is predominantly higher API - condensate.</a:t>
                      </a:r>
                      <a:br>
                        <a:rPr lang="en-US" sz="600" u="none" strike="noStrike" dirty="0">
                          <a:solidFill>
                            <a:srgbClr val="4A4A4A"/>
                          </a:solidFill>
                          <a:effectLst/>
                        </a:rPr>
                      </a:br>
                      <a:r>
                        <a:rPr lang="en-US" sz="600" u="none" strike="noStrike" dirty="0">
                          <a:solidFill>
                            <a:srgbClr val="4A4A4A"/>
                          </a:solidFill>
                          <a:effectLst/>
                        </a:rPr>
                        <a:t>Less Low API crude available to blend.</a:t>
                      </a:r>
                      <a:endParaRPr lang="en-US" sz="600" b="0" i="0" u="none" strike="noStrike" dirty="0">
                        <a:solidFill>
                          <a:srgbClr val="4A4A4A"/>
                        </a:solidFill>
                        <a:effectLst/>
                        <a:latin typeface="+mn-lt"/>
                      </a:endParaRPr>
                    </a:p>
                  </a:txBody>
                  <a:tcPr marL="45720" marR="45720">
                    <a:lnL w="12700" cmpd="sng">
                      <a:noFill/>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4798742"/>
                  </a:ext>
                </a:extLst>
              </a:tr>
              <a:tr h="0">
                <a:tc vMerge="1">
                  <a:txBody>
                    <a:bodyPr/>
                    <a:lstStyle/>
                    <a:p>
                      <a:endParaRPr lang="en-US"/>
                    </a:p>
                  </a:txBody>
                  <a:tcPr/>
                </a:tc>
                <a:tc>
                  <a:txBody>
                    <a:bodyPr/>
                    <a:lstStyle/>
                    <a:p>
                      <a:pPr algn="l" fontAlgn="t"/>
                      <a:r>
                        <a:rPr lang="en-US" sz="600" u="none" strike="noStrike">
                          <a:solidFill>
                            <a:srgbClr val="4A4A4A"/>
                          </a:solidFill>
                          <a:effectLst/>
                        </a:rPr>
                        <a:t> </a:t>
                      </a:r>
                      <a:endParaRPr lang="en-US" sz="600" b="0" i="0" u="none" strike="noStrike">
                        <a:solidFill>
                          <a:srgbClr val="4A4A4A"/>
                        </a:solidFill>
                        <a:effectLst/>
                        <a:latin typeface="+mn-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pPr algn="l" rtl="0" fontAlgn="t"/>
                      <a:r>
                        <a:rPr lang="en-US" sz="500" u="none" strike="noStrike" dirty="0">
                          <a:solidFill>
                            <a:srgbClr val="4A4A4A"/>
                          </a:solidFill>
                          <a:effectLst/>
                        </a:rPr>
                        <a:t> </a:t>
                      </a:r>
                      <a:endParaRPr lang="en-US" sz="500" b="0" i="0" u="none" strike="noStrike" dirty="0">
                        <a:solidFill>
                          <a:srgbClr val="4A4A4A"/>
                        </a:solidFill>
                        <a:effectLst/>
                        <a:latin typeface="+mn-lt"/>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t"/>
                      <a:r>
                        <a:rPr lang="en-US" sz="600" u="none" strike="noStrike" dirty="0">
                          <a:solidFill>
                            <a:srgbClr val="4A4A4A"/>
                          </a:solidFill>
                          <a:effectLst/>
                        </a:rPr>
                        <a:t>Salt content above threshold &gt;25ptb – EMERGING</a:t>
                      </a:r>
                      <a:endParaRPr lang="en-US" sz="600" b="0" i="0" u="none" strike="noStrike" dirty="0">
                        <a:solidFill>
                          <a:srgbClr val="4A4A4A"/>
                        </a:solidFill>
                        <a:effectLst/>
                        <a:latin typeface="+mn-lt"/>
                      </a:endParaRPr>
                    </a:p>
                  </a:txBody>
                  <a:tcPr marL="45720" marR="45720">
                    <a:lnL w="12700" cmpd="sng">
                      <a:noFill/>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3832167"/>
                  </a:ext>
                </a:extLst>
              </a:tr>
              <a:tr h="0">
                <a:tc vMerge="1">
                  <a:txBody>
                    <a:bodyPr/>
                    <a:lstStyle/>
                    <a:p>
                      <a:endParaRPr lang="en-US"/>
                    </a:p>
                  </a:txBody>
                  <a:tcPr/>
                </a:tc>
                <a:tc>
                  <a:txBody>
                    <a:bodyPr/>
                    <a:lstStyle/>
                    <a:p>
                      <a:pPr algn="l" fontAlgn="t"/>
                      <a:r>
                        <a:rPr lang="en-US" sz="600" u="none" strike="noStrike">
                          <a:solidFill>
                            <a:srgbClr val="4A4A4A"/>
                          </a:solidFill>
                          <a:effectLst/>
                        </a:rPr>
                        <a:t> </a:t>
                      </a:r>
                      <a:endParaRPr lang="en-US" sz="600" b="0" i="0" u="none" strike="noStrike">
                        <a:solidFill>
                          <a:srgbClr val="4A4A4A"/>
                        </a:solidFill>
                        <a:effectLst/>
                        <a:latin typeface="+mn-lt"/>
                      </a:endParaRPr>
                    </a:p>
                  </a:txBody>
                  <a:tcPr marL="45720" marR="45720">
                    <a:lnL w="12700" cmpd="sng">
                      <a:noFill/>
                    </a:lnL>
                    <a:lnR w="12700" cmpd="sng">
                      <a:noFill/>
                    </a:lnR>
                    <a:lnT w="12700" cmpd="sng">
                      <a:noFill/>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t"/>
                      <a:r>
                        <a:rPr lang="en-US" sz="600" u="none" strike="noStrike" dirty="0">
                          <a:solidFill>
                            <a:srgbClr val="4A4A4A"/>
                          </a:solidFill>
                          <a:effectLst/>
                        </a:rPr>
                        <a:t>5.Pressure restriction in incoming lines - BOGT</a:t>
                      </a:r>
                      <a:endParaRPr lang="en-US" sz="600" b="0" i="0" u="none" strike="noStrike" dirty="0">
                        <a:solidFill>
                          <a:srgbClr val="4A4A4A"/>
                        </a:solidFill>
                        <a:effectLst/>
                        <a:latin typeface="+mn-lt"/>
                      </a:endParaRPr>
                    </a:p>
                  </a:txBody>
                  <a:tcPr marL="45720" marR="45720">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600" u="none" strike="noStrike" dirty="0">
                          <a:solidFill>
                            <a:srgbClr val="4A4A4A"/>
                          </a:solidFill>
                          <a:effectLst/>
                        </a:rPr>
                        <a:t>Suspected restriction in common header.</a:t>
                      </a:r>
                      <a:endParaRPr lang="en-US" sz="600" b="0" i="0" u="none" strike="noStrike" dirty="0">
                        <a:solidFill>
                          <a:srgbClr val="4A4A4A"/>
                        </a:solidFill>
                        <a:effectLst/>
                        <a:latin typeface="+mn-lt"/>
                      </a:endParaRPr>
                    </a:p>
                  </a:txBody>
                  <a:tcPr marL="45720" marR="45720">
                    <a:lnL w="12700" cmpd="sng">
                      <a:noFill/>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1770626"/>
                  </a:ext>
                </a:extLst>
              </a:tr>
            </a:tbl>
          </a:graphicData>
        </a:graphic>
      </p:graphicFrame>
      <p:sp>
        <p:nvSpPr>
          <p:cNvPr id="15" name="Slide Number Placeholder 14">
            <a:extLst>
              <a:ext uri="{FF2B5EF4-FFF2-40B4-BE49-F238E27FC236}">
                <a16:creationId xmlns:a16="http://schemas.microsoft.com/office/drawing/2014/main" id="{0D8A2039-0B71-BC20-1EF9-13F6E95858B8}"/>
              </a:ext>
            </a:extLst>
          </p:cNvPr>
          <p:cNvSpPr>
            <a:spLocks noGrp="1"/>
          </p:cNvSpPr>
          <p:nvPr>
            <p:ph type="sldNum" sz="quarter" idx="4"/>
          </p:nvPr>
        </p:nvSpPr>
        <p:spPr/>
        <p:txBody>
          <a:bodyPr/>
          <a:lstStyle/>
          <a:p>
            <a:fld id="{D32BAE6A-B452-4007-8177-56DD051636F9}" type="slidenum">
              <a:rPr lang="en-GB" noProof="1" smtClean="0"/>
              <a:pPr/>
              <a:t>9</a:t>
            </a:fld>
            <a:endParaRPr lang="en-GB" noProof="1"/>
          </a:p>
        </p:txBody>
      </p:sp>
    </p:spTree>
    <p:extLst>
      <p:ext uri="{BB962C8B-B14F-4D97-AF65-F5344CB8AC3E}">
        <p14:creationId xmlns:p14="http://schemas.microsoft.com/office/powerpoint/2010/main" val="978652537"/>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CustomIcon"/>
</p:tagLst>
</file>

<file path=ppt/tags/tag11.xml><?xml version="1.0" encoding="utf-8"?>
<p:tagLst xmlns:a="http://schemas.openxmlformats.org/drawingml/2006/main" xmlns:r="http://schemas.openxmlformats.org/officeDocument/2006/relationships" xmlns:p="http://schemas.openxmlformats.org/presentationml/2006/main">
  <p:tag name="NAME" val="CustomIcon"/>
</p:tagLst>
</file>

<file path=ppt/tags/tag12.xml><?xml version="1.0" encoding="utf-8"?>
<p:tagLst xmlns:a="http://schemas.openxmlformats.org/drawingml/2006/main" xmlns:r="http://schemas.openxmlformats.org/officeDocument/2006/relationships" xmlns:p="http://schemas.openxmlformats.org/presentationml/2006/main">
  <p:tag name="NAME" val="CustomIcon"/>
</p:tagLst>
</file>

<file path=ppt/tags/tag13.xml><?xml version="1.0" encoding="utf-8"?>
<p:tagLst xmlns:a="http://schemas.openxmlformats.org/drawingml/2006/main" xmlns:r="http://schemas.openxmlformats.org/officeDocument/2006/relationships" xmlns:p="http://schemas.openxmlformats.org/presentationml/2006/main">
  <p:tag name="NAME" val="CustomIcon"/>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i8m174.0DA_EnhmITSRbQ"/>
</p:tagLst>
</file>

<file path=ppt/tags/tag7.xml><?xml version="1.0" encoding="utf-8"?>
<p:tagLst xmlns:a="http://schemas.openxmlformats.org/drawingml/2006/main" xmlns:r="http://schemas.openxmlformats.org/officeDocument/2006/relationships" xmlns:p="http://schemas.openxmlformats.org/presentationml/2006/main">
  <p:tag name="1LEVEL" val="1.2"/>
  <p:tag name="2LEVEL" val="0.6"/>
  <p:tag name="3LEVEL" val="0.3"/>
  <p:tag name="4LEVEL" val="0.15"/>
  <p:tag name="5LEVEL" val="0.08"/>
</p:tagLst>
</file>

<file path=ppt/tags/tag8.xml><?xml version="1.0" encoding="utf-8"?>
<p:tagLst xmlns:a="http://schemas.openxmlformats.org/drawingml/2006/main" xmlns:r="http://schemas.openxmlformats.org/officeDocument/2006/relationships" xmlns:p="http://schemas.openxmlformats.org/presentationml/2006/main">
  <p:tag name="1LEVEL" val="1.2"/>
  <p:tag name="2LEVEL" val="0.6"/>
  <p:tag name="3LEVEL" val="0.3"/>
  <p:tag name="4LEVEL" val="0.15"/>
  <p:tag name="5LEVEL" val="0.08"/>
</p:tagLst>
</file>

<file path=ppt/tags/tag9.xml><?xml version="1.0" encoding="utf-8"?>
<p:tagLst xmlns:a="http://schemas.openxmlformats.org/drawingml/2006/main" xmlns:r="http://schemas.openxmlformats.org/officeDocument/2006/relationships" xmlns:p="http://schemas.openxmlformats.org/presentationml/2006/main">
  <p:tag name="1LEVEL" val="1.2"/>
  <p:tag name="2LEVEL" val="0.6"/>
  <p:tag name="3LEVEL" val="0.3"/>
  <p:tag name="4LEVEL" val="0.15"/>
  <p:tag name="5LEVEL" val="0.08"/>
</p:tagLst>
</file>

<file path=ppt/theme/theme1.xml><?xml version="1.0" encoding="utf-8"?>
<a:theme xmlns:a="http://schemas.openxmlformats.org/drawingml/2006/main" name="Shell layouts with footer">
  <a:themeElements>
    <a:clrScheme name="Shell Colour Palette 2023">
      <a:dk1>
        <a:srgbClr val="4A4A4A"/>
      </a:dk1>
      <a:lt1>
        <a:srgbClr val="FFFFFF"/>
      </a:lt1>
      <a:dk2>
        <a:srgbClr val="919191"/>
      </a:dk2>
      <a:lt2>
        <a:srgbClr val="E0E0E0"/>
      </a:lt2>
      <a:accent1>
        <a:srgbClr val="FFC600"/>
      </a:accent1>
      <a:accent2>
        <a:srgbClr val="DD1D21"/>
      </a:accent2>
      <a:accent3>
        <a:srgbClr val="336094"/>
      </a:accent3>
      <a:accent4>
        <a:srgbClr val="86207C"/>
      </a:accent4>
      <a:accent5>
        <a:srgbClr val="617E31"/>
      </a:accent5>
      <a:accent6>
        <a:srgbClr val="ED8A00"/>
      </a:accent6>
      <a:hlink>
        <a:srgbClr val="336094"/>
      </a:hlink>
      <a:folHlink>
        <a:srgbClr val="336094"/>
      </a:folHlink>
    </a:clrScheme>
    <a:fontScheme name="Shell Font Theme">
      <a:majorFont>
        <a:latin typeface="ShellHeavy"/>
        <a:ea typeface=""/>
        <a:cs typeface=""/>
      </a:majorFont>
      <a:minorFont>
        <a:latin typeface="Shell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rtlCol="0" anchor="t" anchorCtr="0" compatLnSpc="1">
        <a:prstTxWarp prst="textNoShape">
          <a:avLst/>
        </a:prstTxWarp>
        <a:spAutoFit/>
      </a:bodyPr>
      <a:lstStyle>
        <a:defPPr marL="230400" indent="-230400" defTabSz="357708">
          <a:lnSpc>
            <a:spcPct val="140000"/>
          </a:lnSpc>
          <a:buClr>
            <a:schemeClr val="accent2"/>
          </a:buClr>
          <a:buSzPct val="75000"/>
          <a:buFont typeface="Wingdings" panose="05000000000000000000" pitchFamily="2" charset="2"/>
          <a:buChar char=""/>
          <a:defRPr sz="1800" dirty="0" err="1"/>
        </a:defPPr>
      </a:lstStyle>
    </a:txDef>
  </a:objectDefaults>
  <a:extraClrSchemeLst/>
  <a:custClrLst>
    <a:custClr name="Main Yellow 200">
      <a:srgbClr val="FFC600"/>
    </a:custClr>
    <a:custClr name="Main Shell Red">
      <a:srgbClr val="DD1D21"/>
    </a:custClr>
    <a:custClr name="Main Shell Grey 700">
      <a:srgbClr val="4A4A4A"/>
    </a:custClr>
    <a:custClr name="Main Night 600">
      <a:srgbClr val="336094"/>
    </a:custClr>
    <a:custClr name="Main Ocean 400">
      <a:srgbClr val="0097A9"/>
    </a:custClr>
    <a:custClr name="Main Sky 400">
      <a:srgbClr val="0097BB"/>
    </a:custClr>
    <a:custClr name="Main Violet 500">
      <a:srgbClr val="9A60A4"/>
    </a:custClr>
    <a:custClr name="Main Sunset 500">
      <a:srgbClr val="D54410"/>
    </a:custClr>
    <a:custClr name="Main Sand 100">
      <a:srgbClr val="E1DDA9"/>
    </a:custClr>
    <a:custClr name="Main Earth 700">
      <a:srgbClr val="743A1E"/>
    </a:custClr>
    <a:custClr name="Shell Yellow 50">
      <a:srgbClr val="FFF7B4"/>
    </a:custClr>
    <a:custClr name="Shell Red 300">
      <a:srgbClr val="FF887B"/>
    </a:custClr>
    <a:custClr name="Shell Grey 900">
      <a:srgbClr val="292929"/>
    </a:custClr>
    <a:custClr name="Night 400">
      <a:srgbClr val="6E94C0"/>
    </a:custClr>
    <a:custClr name="Ocean 600">
      <a:srgbClr val="006B7B"/>
    </a:custClr>
    <a:custClr name="Sky 200">
      <a:srgbClr val="95C9DC"/>
    </a:custClr>
    <a:custClr name="Violet 300">
      <a:srgbClr val="C39EC9"/>
    </a:custClr>
    <a:custClr name="Sunset 300">
      <a:srgbClr val="FF8966"/>
    </a:custClr>
    <a:custClr name="Sand 400">
      <a:srgbClr val="979361"/>
    </a:custClr>
    <a:custClr name="Earth 500">
      <a:srgbClr val="9E684F"/>
    </a:custClr>
    <a:custClr name="White">
      <a:srgbClr val="FFFFFF"/>
    </a:custClr>
    <a:custClr name="Shell Red 100">
      <a:srgbClr val="FFD6D0"/>
    </a:custClr>
    <a:custClr name="Shell Grey 400">
      <a:srgbClr val="919191"/>
    </a:custClr>
    <a:custClr name="Night 200">
      <a:srgbClr val="ACC3DE"/>
    </a:custClr>
    <a:custClr name="Ocean 200">
      <a:srgbClr val="81CCD9"/>
    </a:custClr>
    <a:custClr name="Main Forrest 500">
      <a:srgbClr val="008557"/>
    </a:custClr>
    <a:custClr name="Violet 100">
      <a:srgbClr val="E9DBEB"/>
    </a:custClr>
    <a:custClr name="Sunset 100">
      <a:srgbClr val="FFD7C8"/>
    </a:custClr>
    <a:custClr name="Main Stone 300">
      <a:srgbClr val="B6B099"/>
    </a:custClr>
    <a:custClr name="Earth 300&#10;">
      <a:srgbClr val="C3A494"/>
    </a:custClr>
    <a:custClr name="White">
      <a:srgbClr val="FFFFFF"/>
    </a:custClr>
    <a:custClr name="White">
      <a:srgbClr val="FFFFFF"/>
    </a:custClr>
    <a:custClr name="Grey 100">
      <a:srgbClr val="E0E0E0"/>
    </a:custClr>
    <a:custClr name="Main Grass 200">
      <a:srgbClr val="A0C963"/>
    </a:custClr>
    <a:custClr name="Main Seaweed 300">
      <a:srgbClr val="A8B11A"/>
    </a:custClr>
    <a:custClr name="Forrest 300">
      <a:srgbClr val="6FB993"/>
    </a:custClr>
    <a:custClr name="Main Berry 700">
      <a:srgbClr val="86207C"/>
    </a:custClr>
    <a:custClr name="Main Sunrise 300">
      <a:srgbClr val="ED8A00"/>
    </a:custClr>
    <a:custClr name="Stone 100">
      <a:srgbClr val="E4DFCF"/>
    </a:custClr>
    <a:custClr name="White">
      <a:srgbClr val="FFFFFF"/>
    </a:custClr>
    <a:custClr name="White">
      <a:srgbClr val="FFFFFF"/>
    </a:custClr>
    <a:custClr name="White">
      <a:srgbClr val="FFFFFF"/>
    </a:custClr>
    <a:custClr name="White">
      <a:srgbClr val="FFFFFF"/>
    </a:custClr>
    <a:custClr name="White">
      <a:srgbClr val="FFFFFF"/>
    </a:custClr>
    <a:custClr name="Seaweed 100">
      <a:srgbClr val="DDE599"/>
    </a:custClr>
    <a:custClr name="Forrest 100">
      <a:srgbClr val="CBE6D7"/>
    </a:custClr>
    <a:custClr name="Berry 500">
      <a:srgbClr val="A65A9B"/>
    </a:custClr>
    <a:custClr name="Sunrise 100">
      <a:srgbClr val="FFDAAE"/>
    </a:custClr>
    <a:custClr name="White">
      <a:srgbClr val="FFFFFF"/>
    </a:custClr>
    <a:custClr name="White">
      <a:srgbClr val="FFFFFF"/>
    </a:custClr>
  </a:custClrLst>
  <a:extLst>
    <a:ext uri="{05A4C25C-085E-4340-85A3-A5531E510DB2}">
      <thm15:themeFamily xmlns:thm15="http://schemas.microsoft.com/office/thememl/2012/main" name="Presentation6" id="{BC0A2529-F624-45EB-BDEA-A71D0A4EA6D1}" vid="{7CE7B608-1B2F-4CFD-9934-8AED582D5EE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1 - Widescreen Shell template - 16x9</Template>
  <TotalTime>725</TotalTime>
  <Words>2147</Words>
  <Application>Microsoft Office PowerPoint</Application>
  <PresentationFormat>Widescreen</PresentationFormat>
  <Paragraphs>255</Paragraphs>
  <Slides>9</Slides>
  <Notes>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9" baseType="lpstr">
      <vt:lpstr>Arial</vt:lpstr>
      <vt:lpstr>Calibri</vt:lpstr>
      <vt:lpstr>Futura Bold</vt:lpstr>
      <vt:lpstr>Futura Medium</vt:lpstr>
      <vt:lpstr>ShellHeavy</vt:lpstr>
      <vt:lpstr>ShellLight</vt:lpstr>
      <vt:lpstr>ShellMedium</vt:lpstr>
      <vt:lpstr>Wingdings</vt:lpstr>
      <vt:lpstr>Shell layouts with footer</vt:lpstr>
      <vt:lpstr>think-cell Slide</vt:lpstr>
      <vt:lpstr>Eliminate Demurrage from SPDC Terminals</vt:lpstr>
      <vt:lpstr>Initiative Title: Eliminating Demurrage in SPDC Terminals</vt:lpstr>
      <vt:lpstr>Initiative Update</vt:lpstr>
      <vt:lpstr>RCA – Slow loading at FOT</vt:lpstr>
      <vt:lpstr>RCA – FOT SBM1 Outage</vt:lpstr>
      <vt:lpstr>RCA - Awaiting Berthing</vt:lpstr>
      <vt:lpstr>RCA - Awaiting cargo</vt:lpstr>
      <vt:lpstr>PowerPoint Presentation</vt:lpstr>
      <vt:lpstr>RCA - Summa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liminate Demurrage from SPDC Terminals</dc:title>
  <dc:creator>Garus-Kogi, Oghenedoro F SPDC-IUC/G/T</dc:creator>
  <cp:lastModifiedBy>Buhari, Jamilu S SPDC-IUC/G/UWT</cp:lastModifiedBy>
  <cp:revision>4</cp:revision>
  <dcterms:created xsi:type="dcterms:W3CDTF">2024-02-26T08:31:28Z</dcterms:created>
  <dcterms:modified xsi:type="dcterms:W3CDTF">2024-03-11T08:07: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Widescreen</vt:lpwstr>
  </property>
  <property fmtid="{D5CDD505-2E9C-101B-9397-08002B2CF9AE}" pid="3" name="WizKit Template Version">
    <vt:i4>6</vt:i4>
  </property>
</Properties>
</file>